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7"/>
    <p:sldMasterId id="2147483753" r:id="rId18"/>
  </p:sldMasterIdLst>
  <p:notesMasterIdLst>
    <p:notesMasterId r:id="rId31"/>
  </p:notesMasterIdLst>
  <p:handoutMasterIdLst>
    <p:handoutMasterId r:id="rId32"/>
  </p:handoutMasterIdLst>
  <p:sldIdLst>
    <p:sldId id="343" r:id="rId19"/>
    <p:sldId id="366" r:id="rId20"/>
    <p:sldId id="372" r:id="rId21"/>
    <p:sldId id="374" r:id="rId22"/>
    <p:sldId id="381" r:id="rId23"/>
    <p:sldId id="382" r:id="rId24"/>
    <p:sldId id="380" r:id="rId25"/>
    <p:sldId id="375" r:id="rId26"/>
    <p:sldId id="378" r:id="rId27"/>
    <p:sldId id="383" r:id="rId28"/>
    <p:sldId id="376" r:id="rId29"/>
    <p:sldId id="384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DB952CA2-F37E-4B72-9E03-5C01D6602214}">
          <p14:sldIdLst>
            <p14:sldId id="343"/>
            <p14:sldId id="366"/>
            <p14:sldId id="372"/>
            <p14:sldId id="374"/>
            <p14:sldId id="381"/>
            <p14:sldId id="382"/>
            <p14:sldId id="380"/>
            <p14:sldId id="375"/>
            <p14:sldId id="378"/>
            <p14:sldId id="383"/>
            <p14:sldId id="376"/>
            <p14:sldId id="384"/>
          </p14:sldIdLst>
        </p14:section>
        <p14:section name="Chapter divider" id="{0D00BCA0-2CBF-4743-B406-7AD2D6119FED}">
          <p14:sldIdLst/>
        </p14:section>
        <p14:section name="Table of contents" id="{5B9143C2-DC2D-4997-8FBC-9296D9BEB76F}">
          <p14:sldIdLst/>
        </p14:section>
        <p14:section name="Content slides" id="{C54510C2-4863-4A6A-825E-537E19B105CC}">
          <p14:sldIdLst/>
        </p14:section>
        <p14:section name="Quotes and statements" id="{6C2E2E8E-D1AB-499D-8924-A982DA72C919}">
          <p14:sldIdLst/>
        </p14:section>
        <p14:section name="Full bleed color areas" id="{8E973E09-46F2-4BCC-B46D-166573E91749}">
          <p14:sldIdLst/>
        </p14:section>
        <p14:section name="Color palette" id="{045DDF2D-14F6-4AED-8F32-531E4A8027C0}">
          <p14:sldIdLst/>
        </p14:section>
        <p14:section name="Disclaimer, contact" id="{0D568892-780D-4C8E-9447-F21546C88527}">
          <p14:sldIdLst/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58" autoAdjust="0"/>
    <p:restoredTop sz="97461" autoAdjust="0"/>
  </p:normalViewPr>
  <p:slideViewPr>
    <p:cSldViewPr snapToGrid="0" showGuides="1">
      <p:cViewPr varScale="1">
        <p:scale>
          <a:sx n="86" d="100"/>
          <a:sy n="86" d="100"/>
        </p:scale>
        <p:origin x="922" y="67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2749"/>
    </p:cViewPr>
  </p:sorterViewPr>
  <p:notesViewPr>
    <p:cSldViewPr snapToGrid="0" showGuides="1">
      <p:cViewPr varScale="1">
        <p:scale>
          <a:sx n="121" d="100"/>
          <a:sy n="121" d="100"/>
        </p:scale>
        <p:origin x="4188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slideMaster" Target="slideMasters/slideMaster2.xml"/><Relationship Id="rId26" Type="http://schemas.openxmlformats.org/officeDocument/2006/relationships/slide" Target="slides/slide8.xml"/><Relationship Id="rId21" Type="http://schemas.openxmlformats.org/officeDocument/2006/relationships/slide" Target="slides/slide3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slideMaster" Target="slideMasters/slideMaster1.xml"/><Relationship Id="rId25" Type="http://schemas.openxmlformats.org/officeDocument/2006/relationships/slide" Target="slides/slide7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6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slide" Target="slides/slide1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viewProps" Target="view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 dirty="0"/>
          </a:p>
        </p:txBody>
      </p:sp>
      <p:sp>
        <p:nvSpPr>
          <p:cNvPr id="3" name="Date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11/25/2020</a:t>
            </a:fld>
            <a:endParaRPr lang="en-US" sz="1050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 dirty="0">
                <a:solidFill>
                  <a:schemeClr val="accent2"/>
                </a:solidFill>
              </a:rPr>
              <a:t>Hand out</a:t>
            </a:r>
            <a:r>
              <a:rPr lang="en-US" sz="1050" dirty="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 dirty="0"/>
          </a:p>
        </p:txBody>
      </p:sp>
      <p:pic>
        <p:nvPicPr>
          <p:cNvPr id="6" name="Siemens logo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 dirty="0"/>
          </a:p>
        </p:txBody>
      </p:sp>
      <p:sp>
        <p:nvSpPr>
          <p:cNvPr id="3" name="Date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11/25/2020</a:t>
            </a:fld>
            <a:endParaRPr lang="en-US" dirty="0"/>
          </a:p>
        </p:txBody>
      </p:sp>
      <p:sp>
        <p:nvSpPr>
          <p:cNvPr id="4" name="Slide Image Placeholder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 dirty="0"/>
          </a:p>
        </p:txBody>
      </p:sp>
      <p:sp>
        <p:nvSpPr>
          <p:cNvPr id="7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3.jpe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5.xml"/><Relationship Id="rId7" Type="http://schemas.openxmlformats.org/officeDocument/2006/relationships/image" Target="../media/image33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32.svg"/><Relationship Id="rId5" Type="http://schemas.openxmlformats.org/officeDocument/2006/relationships/tags" Target="../tags/tag37.xml"/><Relationship Id="rId10" Type="http://schemas.openxmlformats.org/officeDocument/2006/relationships/image" Target="../media/image31.png"/><Relationship Id="rId4" Type="http://schemas.openxmlformats.org/officeDocument/2006/relationships/tags" Target="../tags/tag36.xml"/><Relationship Id="rId9" Type="http://schemas.openxmlformats.org/officeDocument/2006/relationships/image" Target="../media/image3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1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customXml" Target="../../customXml/item15.xml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customXml" Target="../../customXml/item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customXml" Target="../../customXml/item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customXml" Target="../../customXml/item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customXml" Target="../../customXml/item10.xml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customXml" Target="../../customXml/item11.xml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customXml" Target="../../customXml/item16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customXml" Target="../../customXml/item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customXml" Target="../../customXml/item1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1.xml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5.xml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customXml" Target="../../customXml/item1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customXml" Target="../../customXml/item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customXml" Target="../../customXml/item8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9.xml"/><Relationship Id="rId7" Type="http://schemas.openxmlformats.org/officeDocument/2006/relationships/slideMaster" Target="../slideMasters/slideMaster2.xml"/><Relationship Id="rId2" Type="http://schemas.openxmlformats.org/officeDocument/2006/relationships/customXml" Target="../../customXml/item4.xml"/><Relationship Id="rId1" Type="http://schemas.openxmlformats.org/officeDocument/2006/relationships/vmlDrawing" Target="../drawings/vmlDrawing3.v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image" Target="../media/image34.emf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3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491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3812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3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r>
              <a:rPr lang="ru-RU"/>
              <a:t>Вставка таблицы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rgbClr val="CDD9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>
            <a:extLst>
              <a:ext uri="{FF2B5EF4-FFF2-40B4-BE49-F238E27FC236}">
                <a16:creationId xmlns:a16="http://schemas.microsoft.com/office/drawing/2014/main" id="{9702FBCE-4D9A-4330-A3F1-9B87F347A3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" y="0"/>
            <a:ext cx="12190451" cy="6858000"/>
          </a:xfrm>
          <a:prstGeom prst="rect">
            <a:avLst/>
          </a:prstGeom>
        </p:spPr>
      </p:pic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503910"/>
            <a:ext cx="6476627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Mastertitelformat bearbeiten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grpSp>
        <p:nvGrpSpPr>
          <p:cNvPr id="55" name="Gruppieren 3">
            <a:extLst>
              <a:ext uri="{FF2B5EF4-FFF2-40B4-BE49-F238E27FC236}">
                <a16:creationId xmlns:a16="http://schemas.microsoft.com/office/drawing/2014/main" id="{00197CAF-B5AE-4804-99EF-D0374754B39D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6" name="Gerade Verbindung 2">
              <a:extLst>
                <a:ext uri="{FF2B5EF4-FFF2-40B4-BE49-F238E27FC236}">
                  <a16:creationId xmlns:a16="http://schemas.microsoft.com/office/drawing/2014/main" id="{980FF629-0D3B-43D6-9E8E-29A6ED8074C6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35">
              <a:extLst>
                <a:ext uri="{FF2B5EF4-FFF2-40B4-BE49-F238E27FC236}">
                  <a16:creationId xmlns:a16="http://schemas.microsoft.com/office/drawing/2014/main" id="{13321334-600C-4515-81D7-82521DB4E127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6">
              <a:extLst>
                <a:ext uri="{FF2B5EF4-FFF2-40B4-BE49-F238E27FC236}">
                  <a16:creationId xmlns:a16="http://schemas.microsoft.com/office/drawing/2014/main" id="{52E30FF5-D8F3-4955-8720-E21857372F54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7">
              <a:extLst>
                <a:ext uri="{FF2B5EF4-FFF2-40B4-BE49-F238E27FC236}">
                  <a16:creationId xmlns:a16="http://schemas.microsoft.com/office/drawing/2014/main" id="{45BA3804-7560-4C42-AD41-617C8DDEEA3F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8">
              <a:extLst>
                <a:ext uri="{FF2B5EF4-FFF2-40B4-BE49-F238E27FC236}">
                  <a16:creationId xmlns:a16="http://schemas.microsoft.com/office/drawing/2014/main" id="{977364AB-4936-49CC-B2E7-EB478C961262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9">
              <a:extLst>
                <a:ext uri="{FF2B5EF4-FFF2-40B4-BE49-F238E27FC236}">
                  <a16:creationId xmlns:a16="http://schemas.microsoft.com/office/drawing/2014/main" id="{0EB9DA0E-4573-433E-A787-C48D9089D13B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41">
              <a:extLst>
                <a:ext uri="{FF2B5EF4-FFF2-40B4-BE49-F238E27FC236}">
                  <a16:creationId xmlns:a16="http://schemas.microsoft.com/office/drawing/2014/main" id="{B8390901-ABB2-4D4F-B7D1-76B7C0BABD5D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2">
              <a:extLst>
                <a:ext uri="{FF2B5EF4-FFF2-40B4-BE49-F238E27FC236}">
                  <a16:creationId xmlns:a16="http://schemas.microsoft.com/office/drawing/2014/main" id="{53D38353-C6FF-41D7-B14B-F8CA932D93AA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3">
              <a:extLst>
                <a:ext uri="{FF2B5EF4-FFF2-40B4-BE49-F238E27FC236}">
                  <a16:creationId xmlns:a16="http://schemas.microsoft.com/office/drawing/2014/main" id="{8D404724-8C40-4BFE-98B1-AAE0A2370739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4">
              <a:extLst>
                <a:ext uri="{FF2B5EF4-FFF2-40B4-BE49-F238E27FC236}">
                  <a16:creationId xmlns:a16="http://schemas.microsoft.com/office/drawing/2014/main" id="{E9E4EF56-6E91-4417-8928-90E6DE2B63A7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51">
              <a:extLst>
                <a:ext uri="{FF2B5EF4-FFF2-40B4-BE49-F238E27FC236}">
                  <a16:creationId xmlns:a16="http://schemas.microsoft.com/office/drawing/2014/main" id="{5FFEBC67-901C-42EA-90BE-8DB30369B2CB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2">
              <a:extLst>
                <a:ext uri="{FF2B5EF4-FFF2-40B4-BE49-F238E27FC236}">
                  <a16:creationId xmlns:a16="http://schemas.microsoft.com/office/drawing/2014/main" id="{56B66C12-6F72-413F-A249-AE781E402DA8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3">
              <a:extLst>
                <a:ext uri="{FF2B5EF4-FFF2-40B4-BE49-F238E27FC236}">
                  <a16:creationId xmlns:a16="http://schemas.microsoft.com/office/drawing/2014/main" id="{608A0664-B010-4C20-81EF-34E581BA6447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4">
              <a:extLst>
                <a:ext uri="{FF2B5EF4-FFF2-40B4-BE49-F238E27FC236}">
                  <a16:creationId xmlns:a16="http://schemas.microsoft.com/office/drawing/2014/main" id="{D2167908-32C4-40F3-ADBA-646E235F3475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5">
              <a:extLst>
                <a:ext uri="{FF2B5EF4-FFF2-40B4-BE49-F238E27FC236}">
                  <a16:creationId xmlns:a16="http://schemas.microsoft.com/office/drawing/2014/main" id="{759EA343-BE06-4A28-8716-FA784C7949E0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6">
              <a:extLst>
                <a:ext uri="{FF2B5EF4-FFF2-40B4-BE49-F238E27FC236}">
                  <a16:creationId xmlns:a16="http://schemas.microsoft.com/office/drawing/2014/main" id="{CFEB62D3-BE61-4908-9DD6-D17D16B5C083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8">
              <a:extLst>
                <a:ext uri="{FF2B5EF4-FFF2-40B4-BE49-F238E27FC236}">
                  <a16:creationId xmlns:a16="http://schemas.microsoft.com/office/drawing/2014/main" id="{E5482293-30D9-4E3E-91A1-D5BA6453A85E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9">
              <a:extLst>
                <a:ext uri="{FF2B5EF4-FFF2-40B4-BE49-F238E27FC236}">
                  <a16:creationId xmlns:a16="http://schemas.microsoft.com/office/drawing/2014/main" id="{FAC3ACF5-51DC-4146-B57F-643A48400BC2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60">
              <a:extLst>
                <a:ext uri="{FF2B5EF4-FFF2-40B4-BE49-F238E27FC236}">
                  <a16:creationId xmlns:a16="http://schemas.microsoft.com/office/drawing/2014/main" id="{380A4CD8-DB23-41BC-A696-67B6DF4D1252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1">
              <a:extLst>
                <a:ext uri="{FF2B5EF4-FFF2-40B4-BE49-F238E27FC236}">
                  <a16:creationId xmlns:a16="http://schemas.microsoft.com/office/drawing/2014/main" id="{918017F5-93A1-4239-AFBB-FBF7431DFE95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8" name="Graphic 77">
            <a:extLst>
              <a:ext uri="{FF2B5EF4-FFF2-40B4-BE49-F238E27FC236}">
                <a16:creationId xmlns:a16="http://schemas.microsoft.com/office/drawing/2014/main" id="{442DD5AB-26E9-4644-90AC-4DB021C6CB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94130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rgbClr val="CDD9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C1C8641F-FB85-4EBF-86C6-02CF7567FE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" y="0"/>
            <a:ext cx="12190451" cy="6858000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AE3E7AC-D748-4397-9714-7988CBE53D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304231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AE3E7AC-D748-4397-9714-7988CBE53D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A3BD2C9-5848-4073-8DB0-998759F74D2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667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439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6736" y="4075510"/>
            <a:ext cx="6476627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Mastertitelformat bearbeiten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8428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7" y="5851309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 dirty="0"/>
              <a:t>Please insert confidentiality note</a:t>
            </a:r>
          </a:p>
        </p:txBody>
      </p:sp>
      <p:grpSp>
        <p:nvGrpSpPr>
          <p:cNvPr id="57" name="Gruppieren 3">
            <a:extLst>
              <a:ext uri="{FF2B5EF4-FFF2-40B4-BE49-F238E27FC236}">
                <a16:creationId xmlns:a16="http://schemas.microsoft.com/office/drawing/2014/main" id="{FF8B76F5-4B24-43E5-9B75-EA13FC417F95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8" name="Gerade Verbindung 2">
              <a:extLst>
                <a:ext uri="{FF2B5EF4-FFF2-40B4-BE49-F238E27FC236}">
                  <a16:creationId xmlns:a16="http://schemas.microsoft.com/office/drawing/2014/main" id="{D66741DE-1D26-437E-A51B-A0A4DE07E21C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>
              <a:extLst>
                <a:ext uri="{FF2B5EF4-FFF2-40B4-BE49-F238E27FC236}">
                  <a16:creationId xmlns:a16="http://schemas.microsoft.com/office/drawing/2014/main" id="{012BB4C9-5010-4671-A40A-119CBB29E928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>
              <a:extLst>
                <a:ext uri="{FF2B5EF4-FFF2-40B4-BE49-F238E27FC236}">
                  <a16:creationId xmlns:a16="http://schemas.microsoft.com/office/drawing/2014/main" id="{EC08373A-9D5B-4C29-A308-B199BDA70025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>
              <a:extLst>
                <a:ext uri="{FF2B5EF4-FFF2-40B4-BE49-F238E27FC236}">
                  <a16:creationId xmlns:a16="http://schemas.microsoft.com/office/drawing/2014/main" id="{1192A53C-0E02-472C-9ADF-CA0EAF393297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>
              <a:extLst>
                <a:ext uri="{FF2B5EF4-FFF2-40B4-BE49-F238E27FC236}">
                  <a16:creationId xmlns:a16="http://schemas.microsoft.com/office/drawing/2014/main" id="{7A9AEC3A-86DD-4869-BBCF-2A5DFFC2E30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>
              <a:extLst>
                <a:ext uri="{FF2B5EF4-FFF2-40B4-BE49-F238E27FC236}">
                  <a16:creationId xmlns:a16="http://schemas.microsoft.com/office/drawing/2014/main" id="{B976A106-4E92-4BD5-8C51-1CBC03CDE1F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>
              <a:extLst>
                <a:ext uri="{FF2B5EF4-FFF2-40B4-BE49-F238E27FC236}">
                  <a16:creationId xmlns:a16="http://schemas.microsoft.com/office/drawing/2014/main" id="{B69F00DC-B051-42FB-8C8E-A88A44F551DB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>
              <a:extLst>
                <a:ext uri="{FF2B5EF4-FFF2-40B4-BE49-F238E27FC236}">
                  <a16:creationId xmlns:a16="http://schemas.microsoft.com/office/drawing/2014/main" id="{F252F69A-4EA7-4CAE-A904-DD7B3C8A0A99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>
              <a:extLst>
                <a:ext uri="{FF2B5EF4-FFF2-40B4-BE49-F238E27FC236}">
                  <a16:creationId xmlns:a16="http://schemas.microsoft.com/office/drawing/2014/main" id="{DD5DCA22-58EC-4961-A810-2260DE49B736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>
              <a:extLst>
                <a:ext uri="{FF2B5EF4-FFF2-40B4-BE49-F238E27FC236}">
                  <a16:creationId xmlns:a16="http://schemas.microsoft.com/office/drawing/2014/main" id="{E2EE090C-ADEF-4D16-9094-BF95CA6E59FF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1">
              <a:extLst>
                <a:ext uri="{FF2B5EF4-FFF2-40B4-BE49-F238E27FC236}">
                  <a16:creationId xmlns:a16="http://schemas.microsoft.com/office/drawing/2014/main" id="{212EB692-3F9F-425E-99BC-B13BAE6B770F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2">
              <a:extLst>
                <a:ext uri="{FF2B5EF4-FFF2-40B4-BE49-F238E27FC236}">
                  <a16:creationId xmlns:a16="http://schemas.microsoft.com/office/drawing/2014/main" id="{9A7ABC60-C8EB-47C2-9E5D-0F5B6281B804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3">
              <a:extLst>
                <a:ext uri="{FF2B5EF4-FFF2-40B4-BE49-F238E27FC236}">
                  <a16:creationId xmlns:a16="http://schemas.microsoft.com/office/drawing/2014/main" id="{DAA24BF5-EBEF-4620-932B-79D774F39EED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4">
              <a:extLst>
                <a:ext uri="{FF2B5EF4-FFF2-40B4-BE49-F238E27FC236}">
                  <a16:creationId xmlns:a16="http://schemas.microsoft.com/office/drawing/2014/main" id="{E847DA4B-93B0-42B7-BB58-AAEEDB19C96C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5">
              <a:extLst>
                <a:ext uri="{FF2B5EF4-FFF2-40B4-BE49-F238E27FC236}">
                  <a16:creationId xmlns:a16="http://schemas.microsoft.com/office/drawing/2014/main" id="{CEB143F7-8E72-494B-9388-0DFDE68A7CFC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6">
              <a:extLst>
                <a:ext uri="{FF2B5EF4-FFF2-40B4-BE49-F238E27FC236}">
                  <a16:creationId xmlns:a16="http://schemas.microsoft.com/office/drawing/2014/main" id="{03A5295F-D4C5-4B63-8BBA-E6EE600A768F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8">
              <a:extLst>
                <a:ext uri="{FF2B5EF4-FFF2-40B4-BE49-F238E27FC236}">
                  <a16:creationId xmlns:a16="http://schemas.microsoft.com/office/drawing/2014/main" id="{1E9350FB-0276-4534-91C3-5CC6918CF0C5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9">
              <a:extLst>
                <a:ext uri="{FF2B5EF4-FFF2-40B4-BE49-F238E27FC236}">
                  <a16:creationId xmlns:a16="http://schemas.microsoft.com/office/drawing/2014/main" id="{C77F1C6A-5E1B-45FA-A1FD-20A6DC23116F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0">
              <a:extLst>
                <a:ext uri="{FF2B5EF4-FFF2-40B4-BE49-F238E27FC236}">
                  <a16:creationId xmlns:a16="http://schemas.microsoft.com/office/drawing/2014/main" id="{5B199326-9AC4-4E49-86BC-96415BFA4137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61">
              <a:extLst>
                <a:ext uri="{FF2B5EF4-FFF2-40B4-BE49-F238E27FC236}">
                  <a16:creationId xmlns:a16="http://schemas.microsoft.com/office/drawing/2014/main" id="{7927B65B-8D29-4E2F-82C8-E847EF986E4A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80" name="Graphic 79">
            <a:extLst>
              <a:ext uri="{FF2B5EF4-FFF2-40B4-BE49-F238E27FC236}">
                <a16:creationId xmlns:a16="http://schemas.microsoft.com/office/drawing/2014/main" id="{77F7661F-2583-4EE9-A3DB-3367BA5F0F0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0243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03910"/>
            <a:ext cx="6476627" cy="1663205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Mastertitelformat bearbeiten</a:t>
            </a:r>
            <a:endParaRPr lang="en-US" noProof="0" dirty="0"/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23F27EE7-2260-4055-A6A8-2F609F3A6C72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456CFD33-9286-4453-B3FE-FBB3396C3557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818DD217-8252-48C1-9CCE-089BCA0025AA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16D59E5F-A14D-4F1E-8B22-76A7A005EDF0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A955472D-0585-4611-AF22-063DFFC14808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42B4862A-8F84-4696-8EB0-A8BFB47675DC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A70B8675-34EA-4170-BD7C-8A2760D59B90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69323F31-3DB4-46BD-9695-D22741B33877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2FA599FE-AB85-49AC-883C-02C76BA652FD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0CA9D329-6851-4052-AF09-04C1974C9947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B32BF618-99AD-41DD-9314-031E952FAA48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973978A2-02DF-4119-9A18-14343741F5A2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0891C0B2-1AE3-4F5C-AC54-0E43F54714A3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D5FCB12E-9762-454C-A1E0-E63972AE9E31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6ABB0904-9EBF-43CF-82B3-84E2423E2645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BD75B611-83EF-4F5E-834C-D0C71E2E2F55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D9A0E560-7C8E-4ECD-892F-27FCD073D66B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56944995-21C4-4396-8F9B-649605859E41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F24A85C9-453E-4257-AAEE-342C06FA815D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CE44E449-BA5D-4091-8070-06B70E507750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B91B71AB-7D2D-4691-9AF1-399440278446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9" name="Graphic 78">
            <a:extLst>
              <a:ext uri="{FF2B5EF4-FFF2-40B4-BE49-F238E27FC236}">
                <a16:creationId xmlns:a16="http://schemas.microsoft.com/office/drawing/2014/main" id="{7EF4FB58-008C-42D1-9EEC-9F714155A6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897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03910"/>
            <a:ext cx="6476627" cy="1663205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Mastertitelformat bearbeiten</a:t>
            </a:r>
            <a:endParaRPr lang="en-US" noProof="0" dirty="0"/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D925A51A-A2D1-4D08-B06D-C975923DD7B4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9D1B2416-4637-4CB4-B286-308400A888B7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AB8B2C96-44FF-4B9B-A401-FC60D36EE6B5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D74703C8-2A1A-41A6-B6C2-0D64C8B7D3F3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5CB207D6-4F31-4494-8CB9-5976C1FA5A44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DBA7E973-D7AE-40FC-B0F9-BEEB10799A60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D538D974-FC19-4FA8-8525-BC7E29AE6319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819291C4-0440-4667-8FE5-D76470EBF09B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2744ADDE-EF2E-42FF-B625-CE31E0548CD6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6268E5F6-3594-47B7-8041-D1B20FA7CE99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FFD9FD29-672B-443A-94F0-855BC448BBAE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B9765D6A-94D0-443E-A891-818561F19A82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3BEA4477-70A3-4FEE-9150-19859EB21CEB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9DFDFB47-ADA0-4BC2-AEB1-A1AEE9B9F0C0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F6F618C8-5537-4E39-86B1-808AE3A5A154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D5D45A31-9EE6-4F00-9203-E686C7C5598E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BEBDEE38-8D7D-4E99-93AC-28F8A4403871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470F49CC-C86F-407A-B7E8-7FBD7BFED8C5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CC78FF02-BD5F-4A07-A3E5-10DDA9EB79BF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D2E4A998-327D-4720-9707-FA7DFF87930A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D85CC939-8FBB-4493-A17E-C9AA5350FCFE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9" name="Graphic 78">
            <a:extLst>
              <a:ext uri="{FF2B5EF4-FFF2-40B4-BE49-F238E27FC236}">
                <a16:creationId xmlns:a16="http://schemas.microsoft.com/office/drawing/2014/main" id="{62E9B379-B5AA-4E63-A347-4F7ADC9C29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9891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6571" y="1414800"/>
            <a:ext cx="7535429" cy="47520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800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Bild durch Klicken auf Symbol hinzufügen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CE3FDB-1E18-40EF-89A1-8447B2701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671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26737" y="1414800"/>
            <a:ext cx="3885890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6570" y="1414800"/>
            <a:ext cx="7535430" cy="47520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AE0646D-B1AC-494C-8B2E-5DAB5A620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84923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A1D357-684A-4BD3-B6FD-5478CE31A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3245129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AA96599-2986-49B2-9185-F8180F71CDB7}"/>
              </a:ext>
            </a:extLst>
          </p:cNvPr>
          <p:cNvSpPr/>
          <p:nvPr userDrawn="1"/>
        </p:nvSpPr>
        <p:spPr bwMode="auto">
          <a:xfrm>
            <a:off x="0" y="1414800"/>
            <a:ext cx="12192000" cy="4752000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8A33A2-DE71-43C5-BC8C-E0C3DF146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71306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7647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Bild durch Klicken auf Symbol hinzufügen</a:t>
            </a:r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69D4674-88A4-4399-8844-41875B10CE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89412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"/>
            <a:ext cx="1219200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4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Bild durch Klicken auf Symbol hinzufügen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E7250C-7C05-40BB-9D94-0F649010E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14148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grpSp>
        <p:nvGrpSpPr>
          <p:cNvPr id="52" name="Gruppieren 3">
            <a:extLst>
              <a:ext uri="{FF2B5EF4-FFF2-40B4-BE49-F238E27FC236}">
                <a16:creationId xmlns:a16="http://schemas.microsoft.com/office/drawing/2014/main" id="{2B994D0D-121F-4635-8B29-F2EB34D32054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3" name="Gerade Verbindung 2">
              <a:extLst>
                <a:ext uri="{FF2B5EF4-FFF2-40B4-BE49-F238E27FC236}">
                  <a16:creationId xmlns:a16="http://schemas.microsoft.com/office/drawing/2014/main" id="{FAD0504A-848E-4FD9-8DC3-599263E06B50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35">
              <a:extLst>
                <a:ext uri="{FF2B5EF4-FFF2-40B4-BE49-F238E27FC236}">
                  <a16:creationId xmlns:a16="http://schemas.microsoft.com/office/drawing/2014/main" id="{89D92CCC-FA2D-4E47-9C5C-959BE4F9F3AE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36">
              <a:extLst>
                <a:ext uri="{FF2B5EF4-FFF2-40B4-BE49-F238E27FC236}">
                  <a16:creationId xmlns:a16="http://schemas.microsoft.com/office/drawing/2014/main" id="{7DCE0238-A93E-49CD-B51B-B29FEE64CF6E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37">
              <a:extLst>
                <a:ext uri="{FF2B5EF4-FFF2-40B4-BE49-F238E27FC236}">
                  <a16:creationId xmlns:a16="http://schemas.microsoft.com/office/drawing/2014/main" id="{B64AFC2F-8CCB-4085-A7BB-BE3EFF953D56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38">
              <a:extLst>
                <a:ext uri="{FF2B5EF4-FFF2-40B4-BE49-F238E27FC236}">
                  <a16:creationId xmlns:a16="http://schemas.microsoft.com/office/drawing/2014/main" id="{55A539AD-C3D6-4333-B33E-5706034AD763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9">
              <a:extLst>
                <a:ext uri="{FF2B5EF4-FFF2-40B4-BE49-F238E27FC236}">
                  <a16:creationId xmlns:a16="http://schemas.microsoft.com/office/drawing/2014/main" id="{53F6D19E-71D0-4F34-BA05-3FD6AF91EF3F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41">
              <a:extLst>
                <a:ext uri="{FF2B5EF4-FFF2-40B4-BE49-F238E27FC236}">
                  <a16:creationId xmlns:a16="http://schemas.microsoft.com/office/drawing/2014/main" id="{62F7CA60-F117-4F66-A8CE-6E48CD3792A7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42">
              <a:extLst>
                <a:ext uri="{FF2B5EF4-FFF2-40B4-BE49-F238E27FC236}">
                  <a16:creationId xmlns:a16="http://schemas.microsoft.com/office/drawing/2014/main" id="{67033FCD-1A87-4CC2-BC6C-EBF07ED5CF39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43">
              <a:extLst>
                <a:ext uri="{FF2B5EF4-FFF2-40B4-BE49-F238E27FC236}">
                  <a16:creationId xmlns:a16="http://schemas.microsoft.com/office/drawing/2014/main" id="{1EB32179-D251-4FA2-A3C4-AFF9219DE7DD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44">
              <a:extLst>
                <a:ext uri="{FF2B5EF4-FFF2-40B4-BE49-F238E27FC236}">
                  <a16:creationId xmlns:a16="http://schemas.microsoft.com/office/drawing/2014/main" id="{B18D9A3D-6B95-466B-AA09-1EAB0180D423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51">
              <a:extLst>
                <a:ext uri="{FF2B5EF4-FFF2-40B4-BE49-F238E27FC236}">
                  <a16:creationId xmlns:a16="http://schemas.microsoft.com/office/drawing/2014/main" id="{6EBEED84-A578-46A9-8E69-2AC4C62502B1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52">
              <a:extLst>
                <a:ext uri="{FF2B5EF4-FFF2-40B4-BE49-F238E27FC236}">
                  <a16:creationId xmlns:a16="http://schemas.microsoft.com/office/drawing/2014/main" id="{273E2258-50C4-4D68-A0D8-C2D4712B864A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53">
              <a:extLst>
                <a:ext uri="{FF2B5EF4-FFF2-40B4-BE49-F238E27FC236}">
                  <a16:creationId xmlns:a16="http://schemas.microsoft.com/office/drawing/2014/main" id="{DCFC7340-D0F2-4980-8EF8-6ACFC6A39635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54">
              <a:extLst>
                <a:ext uri="{FF2B5EF4-FFF2-40B4-BE49-F238E27FC236}">
                  <a16:creationId xmlns:a16="http://schemas.microsoft.com/office/drawing/2014/main" id="{50057283-6253-45B0-96D6-10D25847D23B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5">
              <a:extLst>
                <a:ext uri="{FF2B5EF4-FFF2-40B4-BE49-F238E27FC236}">
                  <a16:creationId xmlns:a16="http://schemas.microsoft.com/office/drawing/2014/main" id="{141D64C2-BF2D-438A-BCB4-24F988DCEDFC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6">
              <a:extLst>
                <a:ext uri="{FF2B5EF4-FFF2-40B4-BE49-F238E27FC236}">
                  <a16:creationId xmlns:a16="http://schemas.microsoft.com/office/drawing/2014/main" id="{BED49CFA-20F7-4587-B40B-BA2F6C227E4C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8">
              <a:extLst>
                <a:ext uri="{FF2B5EF4-FFF2-40B4-BE49-F238E27FC236}">
                  <a16:creationId xmlns:a16="http://schemas.microsoft.com/office/drawing/2014/main" id="{42A9842D-8580-4571-B096-5B1B98F553AE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9">
              <a:extLst>
                <a:ext uri="{FF2B5EF4-FFF2-40B4-BE49-F238E27FC236}">
                  <a16:creationId xmlns:a16="http://schemas.microsoft.com/office/drawing/2014/main" id="{8C88B692-E6DC-4158-8946-C693A859434F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60">
              <a:extLst>
                <a:ext uri="{FF2B5EF4-FFF2-40B4-BE49-F238E27FC236}">
                  <a16:creationId xmlns:a16="http://schemas.microsoft.com/office/drawing/2014/main" id="{BE4CDF0A-BC70-4E0C-8298-1C9131963A85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61">
              <a:extLst>
                <a:ext uri="{FF2B5EF4-FFF2-40B4-BE49-F238E27FC236}">
                  <a16:creationId xmlns:a16="http://schemas.microsoft.com/office/drawing/2014/main" id="{91D2F460-52CF-4467-8486-F80ADF41F28D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976634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3AD98BD-F969-46D7-91B3-158DF3B95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grpSp>
        <p:nvGrpSpPr>
          <p:cNvPr id="31" name="Gruppieren 3">
            <a:extLst>
              <a:ext uri="{FF2B5EF4-FFF2-40B4-BE49-F238E27FC236}">
                <a16:creationId xmlns:a16="http://schemas.microsoft.com/office/drawing/2014/main" id="{AA85CB3A-A29E-4E90-A4D2-7C371F0FD96A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2" name="Gerade Verbindung 2">
              <a:extLst>
                <a:ext uri="{FF2B5EF4-FFF2-40B4-BE49-F238E27FC236}">
                  <a16:creationId xmlns:a16="http://schemas.microsoft.com/office/drawing/2014/main" id="{03729835-FBE1-4270-8C70-D11F41ACD7E7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5">
              <a:extLst>
                <a:ext uri="{FF2B5EF4-FFF2-40B4-BE49-F238E27FC236}">
                  <a16:creationId xmlns:a16="http://schemas.microsoft.com/office/drawing/2014/main" id="{90595106-2819-49C1-A09A-E78A23A43C14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6">
              <a:extLst>
                <a:ext uri="{FF2B5EF4-FFF2-40B4-BE49-F238E27FC236}">
                  <a16:creationId xmlns:a16="http://schemas.microsoft.com/office/drawing/2014/main" id="{89734051-EA98-40A9-8410-AAD0C1600AA4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7">
              <a:extLst>
                <a:ext uri="{FF2B5EF4-FFF2-40B4-BE49-F238E27FC236}">
                  <a16:creationId xmlns:a16="http://schemas.microsoft.com/office/drawing/2014/main" id="{9BBD9918-0593-4A6A-802E-4D8B0BB455A7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8">
              <a:extLst>
                <a:ext uri="{FF2B5EF4-FFF2-40B4-BE49-F238E27FC236}">
                  <a16:creationId xmlns:a16="http://schemas.microsoft.com/office/drawing/2014/main" id="{BE2F4ED7-FD52-4F86-BF13-0AE31E758E2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9">
              <a:extLst>
                <a:ext uri="{FF2B5EF4-FFF2-40B4-BE49-F238E27FC236}">
                  <a16:creationId xmlns:a16="http://schemas.microsoft.com/office/drawing/2014/main" id="{782BE3CC-6F9E-48FB-A2F9-77AB1D4CAC0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1">
              <a:extLst>
                <a:ext uri="{FF2B5EF4-FFF2-40B4-BE49-F238E27FC236}">
                  <a16:creationId xmlns:a16="http://schemas.microsoft.com/office/drawing/2014/main" id="{C5D93334-D508-4314-8510-8A3B10F193F4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42">
              <a:extLst>
                <a:ext uri="{FF2B5EF4-FFF2-40B4-BE49-F238E27FC236}">
                  <a16:creationId xmlns:a16="http://schemas.microsoft.com/office/drawing/2014/main" id="{A4679488-72B0-4743-8090-5A6A6AB0EC7E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3">
              <a:extLst>
                <a:ext uri="{FF2B5EF4-FFF2-40B4-BE49-F238E27FC236}">
                  <a16:creationId xmlns:a16="http://schemas.microsoft.com/office/drawing/2014/main" id="{C86C6CD4-2754-4FD4-8129-EC2652F0285A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4">
              <a:extLst>
                <a:ext uri="{FF2B5EF4-FFF2-40B4-BE49-F238E27FC236}">
                  <a16:creationId xmlns:a16="http://schemas.microsoft.com/office/drawing/2014/main" id="{37821FE6-1650-49BD-9F76-93D2C8B45792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1">
              <a:extLst>
                <a:ext uri="{FF2B5EF4-FFF2-40B4-BE49-F238E27FC236}">
                  <a16:creationId xmlns:a16="http://schemas.microsoft.com/office/drawing/2014/main" id="{AAB7A313-C38A-4BDB-ADD0-2320FB7A262B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2">
              <a:extLst>
                <a:ext uri="{FF2B5EF4-FFF2-40B4-BE49-F238E27FC236}">
                  <a16:creationId xmlns:a16="http://schemas.microsoft.com/office/drawing/2014/main" id="{93667F89-3262-4286-AF14-2625CA924A80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3">
              <a:extLst>
                <a:ext uri="{FF2B5EF4-FFF2-40B4-BE49-F238E27FC236}">
                  <a16:creationId xmlns:a16="http://schemas.microsoft.com/office/drawing/2014/main" id="{E436921E-7EC8-4FB1-BC06-17214AE43D57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4">
              <a:extLst>
                <a:ext uri="{FF2B5EF4-FFF2-40B4-BE49-F238E27FC236}">
                  <a16:creationId xmlns:a16="http://schemas.microsoft.com/office/drawing/2014/main" id="{4C7F7B49-5AE2-4066-A64C-7E5B68C46807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55">
              <a:extLst>
                <a:ext uri="{FF2B5EF4-FFF2-40B4-BE49-F238E27FC236}">
                  <a16:creationId xmlns:a16="http://schemas.microsoft.com/office/drawing/2014/main" id="{2FF3EC72-3FCC-45C3-8070-E40906AE20BE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6">
              <a:extLst>
                <a:ext uri="{FF2B5EF4-FFF2-40B4-BE49-F238E27FC236}">
                  <a16:creationId xmlns:a16="http://schemas.microsoft.com/office/drawing/2014/main" id="{4AA98C4C-57AB-4A8E-A72E-B1F6D49DB94A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58">
              <a:extLst>
                <a:ext uri="{FF2B5EF4-FFF2-40B4-BE49-F238E27FC236}">
                  <a16:creationId xmlns:a16="http://schemas.microsoft.com/office/drawing/2014/main" id="{4925DF47-B24F-4025-8D9C-E70CFF7461E3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9">
              <a:extLst>
                <a:ext uri="{FF2B5EF4-FFF2-40B4-BE49-F238E27FC236}">
                  <a16:creationId xmlns:a16="http://schemas.microsoft.com/office/drawing/2014/main" id="{8586F724-1660-4CB2-9E0D-F1200675310E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0">
              <a:extLst>
                <a:ext uri="{FF2B5EF4-FFF2-40B4-BE49-F238E27FC236}">
                  <a16:creationId xmlns:a16="http://schemas.microsoft.com/office/drawing/2014/main" id="{C9156573-CA8B-41F8-9BB6-C0159BDAF914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1">
              <a:extLst>
                <a:ext uri="{FF2B5EF4-FFF2-40B4-BE49-F238E27FC236}">
                  <a16:creationId xmlns:a16="http://schemas.microsoft.com/office/drawing/2014/main" id="{8E5A417D-DBA3-464D-97B0-C8710ED1FD8F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7" name="cdtText Box 133 Id16">
            <a:extLst>
              <a:ext uri="{FF2B5EF4-FFF2-40B4-BE49-F238E27FC236}">
                <a16:creationId xmlns:a16="http://schemas.microsoft.com/office/drawing/2014/main" id="{F4A2408B-B459-4EEF-B84D-7E16680612C1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6166801"/>
            <a:ext cx="12192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074" tIns="143925" rIns="3209528" bIns="0" anchor="ctr"/>
          <a:lstStyle/>
          <a:p>
            <a:r>
              <a:rPr lang="en-US" sz="999" b="1" noProof="0" dirty="0">
                <a:solidFill>
                  <a:schemeClr val="tx1"/>
                </a:solidFill>
              </a:rPr>
              <a:t>Unrestricted © Siemens Mobility 2020</a:t>
            </a:r>
          </a:p>
        </p:txBody>
      </p:sp>
      <p:sp>
        <p:nvSpPr>
          <p:cNvPr id="28" name="cdtTextBox 12 Id17">
            <a:extLst>
              <a:ext uri="{FF2B5EF4-FFF2-40B4-BE49-F238E27FC236}">
                <a16:creationId xmlns:a16="http://schemas.microsoft.com/office/drawing/2014/main" id="{C17EA44F-6664-4EE0-93B0-6E5556561C21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0" y="6562800"/>
            <a:ext cx="3930183" cy="29520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chemeClr val="tx1"/>
                </a:solidFill>
              </a:rPr>
              <a:t>June 2020</a:t>
            </a:r>
          </a:p>
        </p:txBody>
      </p:sp>
      <p:sp>
        <p:nvSpPr>
          <p:cNvPr id="29" name="cdtTextBox 11 Id18">
            <a:extLst>
              <a:ext uri="{FF2B5EF4-FFF2-40B4-BE49-F238E27FC236}">
                <a16:creationId xmlns:a16="http://schemas.microsoft.com/office/drawing/2014/main" id="{D110F835-3796-4F0B-A1FF-C9AEF669C9B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" y="6562800"/>
            <a:ext cx="1764366" cy="29520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999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999" noProof="0" dirty="0">
              <a:solidFill>
                <a:schemeClr val="tx1"/>
              </a:solidFill>
            </a:endParaRPr>
          </a:p>
        </p:txBody>
      </p:sp>
      <p:sp>
        <p:nvSpPr>
          <p:cNvPr id="30" name="cdtTextBox 13 Id19">
            <a:extLst>
              <a:ext uri="{FF2B5EF4-FFF2-40B4-BE49-F238E27FC236}">
                <a16:creationId xmlns:a16="http://schemas.microsoft.com/office/drawing/2014/main" id="{3040E85F-0B89-45E7-85C8-D1AD127D776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785793" y="6562800"/>
            <a:ext cx="8406206" cy="29520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en-US" altLang="de-DE" sz="999" dirty="0">
                <a:solidFill>
                  <a:schemeClr val="tx1"/>
                </a:solidFill>
                <a:cs typeface="Arial" panose="020B0604020202020204" pitchFamily="34" charset="0"/>
              </a:rPr>
              <a:t>Siemens Mobility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CBC91DBD-EBF5-4C03-9F74-A441B685DDF7}"/>
              </a:ext>
            </a:extLst>
          </p:cNvPr>
          <p:cNvGrpSpPr/>
          <p:nvPr userDrawn="1"/>
        </p:nvGrpSpPr>
        <p:grpSpPr>
          <a:xfrm>
            <a:off x="9776312" y="552320"/>
            <a:ext cx="1750413" cy="587608"/>
            <a:chOff x="9781403" y="552320"/>
            <a:chExt cx="1751325" cy="587608"/>
          </a:xfrm>
        </p:grpSpPr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720E46D4-9932-40A8-99D8-DE4232C36063}"/>
                </a:ext>
              </a:extLst>
            </p:cNvPr>
            <p:cNvSpPr/>
            <p:nvPr/>
          </p:nvSpPr>
          <p:spPr>
            <a:xfrm>
              <a:off x="10090283" y="886507"/>
              <a:ext cx="1442445" cy="253421"/>
            </a:xfrm>
            <a:custGeom>
              <a:avLst/>
              <a:gdLst>
                <a:gd name="connsiteX0" fmla="*/ 216732 w 1442445"/>
                <a:gd name="connsiteY0" fmla="*/ 122424 h 253421"/>
                <a:gd name="connsiteX1" fmla="*/ 216847 w 1442445"/>
                <a:gd name="connsiteY1" fmla="*/ 124360 h 253421"/>
                <a:gd name="connsiteX2" fmla="*/ 217558 w 1442445"/>
                <a:gd name="connsiteY2" fmla="*/ 141852 h 253421"/>
                <a:gd name="connsiteX3" fmla="*/ 217564 w 1442445"/>
                <a:gd name="connsiteY3" fmla="*/ 142268 h 253421"/>
                <a:gd name="connsiteX4" fmla="*/ 217218 w 1442445"/>
                <a:gd name="connsiteY4" fmla="*/ 142499 h 253421"/>
                <a:gd name="connsiteX5" fmla="*/ 167502 w 1442445"/>
                <a:gd name="connsiteY5" fmla="*/ 200338 h 253421"/>
                <a:gd name="connsiteX6" fmla="*/ 170016 w 1442445"/>
                <a:gd name="connsiteY6" fmla="*/ 242905 h 253421"/>
                <a:gd name="connsiteX7" fmla="*/ 191320 w 1442445"/>
                <a:gd name="connsiteY7" fmla="*/ 253422 h 253421"/>
                <a:gd name="connsiteX8" fmla="*/ 227720 w 1442445"/>
                <a:gd name="connsiteY8" fmla="*/ 218333 h 253421"/>
                <a:gd name="connsiteX9" fmla="*/ 240333 w 1442445"/>
                <a:gd name="connsiteY9" fmla="*/ 142128 h 253421"/>
                <a:gd name="connsiteX10" fmla="*/ 240352 w 1442445"/>
                <a:gd name="connsiteY10" fmla="*/ 141722 h 253421"/>
                <a:gd name="connsiteX11" fmla="*/ 240698 w 1442445"/>
                <a:gd name="connsiteY11" fmla="*/ 141506 h 253421"/>
                <a:gd name="connsiteX12" fmla="*/ 280599 w 1442445"/>
                <a:gd name="connsiteY12" fmla="*/ 120863 h 253421"/>
                <a:gd name="connsiteX13" fmla="*/ 281180 w 1442445"/>
                <a:gd name="connsiteY13" fmla="*/ 120601 h 253421"/>
                <a:gd name="connsiteX14" fmla="*/ 281539 w 1442445"/>
                <a:gd name="connsiteY14" fmla="*/ 121131 h 253421"/>
                <a:gd name="connsiteX15" fmla="*/ 320438 w 1442445"/>
                <a:gd name="connsiteY15" fmla="*/ 141394 h 253421"/>
                <a:gd name="connsiteX16" fmla="*/ 368211 w 1442445"/>
                <a:gd name="connsiteY16" fmla="*/ 118919 h 253421"/>
                <a:gd name="connsiteX17" fmla="*/ 369209 w 1442445"/>
                <a:gd name="connsiteY17" fmla="*/ 118029 h 253421"/>
                <a:gd name="connsiteX18" fmla="*/ 369466 w 1442445"/>
                <a:gd name="connsiteY18" fmla="*/ 119340 h 253421"/>
                <a:gd name="connsiteX19" fmla="*/ 380216 w 1442445"/>
                <a:gd name="connsiteY19" fmla="*/ 134019 h 253421"/>
                <a:gd name="connsiteX20" fmla="*/ 403847 w 1442445"/>
                <a:gd name="connsiteY20" fmla="*/ 134233 h 253421"/>
                <a:gd name="connsiteX21" fmla="*/ 414871 w 1442445"/>
                <a:gd name="connsiteY21" fmla="*/ 122062 h 253421"/>
                <a:gd name="connsiteX22" fmla="*/ 431782 w 1442445"/>
                <a:gd name="connsiteY22" fmla="*/ 105667 h 253421"/>
                <a:gd name="connsiteX23" fmla="*/ 439953 w 1442445"/>
                <a:gd name="connsiteY23" fmla="*/ 107827 h 253421"/>
                <a:gd name="connsiteX24" fmla="*/ 480494 w 1442445"/>
                <a:gd name="connsiteY24" fmla="*/ 141400 h 253421"/>
                <a:gd name="connsiteX25" fmla="*/ 488800 w 1442445"/>
                <a:gd name="connsiteY25" fmla="*/ 138519 h 253421"/>
                <a:gd name="connsiteX26" fmla="*/ 485843 w 1442445"/>
                <a:gd name="connsiteY26" fmla="*/ 134261 h 253421"/>
                <a:gd name="connsiteX27" fmla="*/ 461754 w 1442445"/>
                <a:gd name="connsiteY27" fmla="*/ 99211 h 253421"/>
                <a:gd name="connsiteX28" fmla="*/ 445219 w 1442445"/>
                <a:gd name="connsiteY28" fmla="*/ 85020 h 253421"/>
                <a:gd name="connsiteX29" fmla="*/ 439539 w 1442445"/>
                <a:gd name="connsiteY29" fmla="*/ 83821 h 253421"/>
                <a:gd name="connsiteX30" fmla="*/ 430775 w 1442445"/>
                <a:gd name="connsiteY30" fmla="*/ 87277 h 253421"/>
                <a:gd name="connsiteX31" fmla="*/ 430112 w 1442445"/>
                <a:gd name="connsiteY31" fmla="*/ 87722 h 253421"/>
                <a:gd name="connsiteX32" fmla="*/ 406933 w 1442445"/>
                <a:gd name="connsiteY32" fmla="*/ 109028 h 253421"/>
                <a:gd name="connsiteX33" fmla="*/ 399667 w 1442445"/>
                <a:gd name="connsiteY33" fmla="*/ 116307 h 253421"/>
                <a:gd name="connsiteX34" fmla="*/ 393358 w 1442445"/>
                <a:gd name="connsiteY34" fmla="*/ 117975 h 253421"/>
                <a:gd name="connsiteX35" fmla="*/ 392278 w 1442445"/>
                <a:gd name="connsiteY35" fmla="*/ 113823 h 253421"/>
                <a:gd name="connsiteX36" fmla="*/ 401577 w 1442445"/>
                <a:gd name="connsiteY36" fmla="*/ 80248 h 253421"/>
                <a:gd name="connsiteX37" fmla="*/ 401994 w 1442445"/>
                <a:gd name="connsiteY37" fmla="*/ 74079 h 253421"/>
                <a:gd name="connsiteX38" fmla="*/ 394001 w 1442445"/>
                <a:gd name="connsiteY38" fmla="*/ 68021 h 253421"/>
                <a:gd name="connsiteX39" fmla="*/ 387204 w 1442445"/>
                <a:gd name="connsiteY39" fmla="*/ 66636 h 253421"/>
                <a:gd name="connsiteX40" fmla="*/ 377914 w 1442445"/>
                <a:gd name="connsiteY40" fmla="*/ 74652 h 253421"/>
                <a:gd name="connsiteX41" fmla="*/ 370637 w 1442445"/>
                <a:gd name="connsiteY41" fmla="*/ 101051 h 253421"/>
                <a:gd name="connsiteX42" fmla="*/ 370594 w 1442445"/>
                <a:gd name="connsiteY42" fmla="*/ 101297 h 253421"/>
                <a:gd name="connsiteX43" fmla="*/ 370414 w 1442445"/>
                <a:gd name="connsiteY43" fmla="*/ 101466 h 253421"/>
                <a:gd name="connsiteX44" fmla="*/ 322704 w 1442445"/>
                <a:gd name="connsiteY44" fmla="*/ 128215 h 253421"/>
                <a:gd name="connsiteX45" fmla="*/ 303845 w 1442445"/>
                <a:gd name="connsiteY45" fmla="*/ 111415 h 253421"/>
                <a:gd name="connsiteX46" fmla="*/ 303772 w 1442445"/>
                <a:gd name="connsiteY46" fmla="*/ 110851 h 253421"/>
                <a:gd name="connsiteX47" fmla="*/ 304288 w 1442445"/>
                <a:gd name="connsiteY47" fmla="*/ 110618 h 253421"/>
                <a:gd name="connsiteX48" fmla="*/ 341019 w 1442445"/>
                <a:gd name="connsiteY48" fmla="*/ 87903 h 253421"/>
                <a:gd name="connsiteX49" fmla="*/ 343455 w 1442445"/>
                <a:gd name="connsiteY49" fmla="*/ 72390 h 253421"/>
                <a:gd name="connsiteX50" fmla="*/ 323836 w 1442445"/>
                <a:gd name="connsiteY50" fmla="*/ 60316 h 253421"/>
                <a:gd name="connsiteX51" fmla="*/ 277673 w 1442445"/>
                <a:gd name="connsiteY51" fmla="*/ 110434 h 253421"/>
                <a:gd name="connsiteX52" fmla="*/ 277668 w 1442445"/>
                <a:gd name="connsiteY52" fmla="*/ 110931 h 253421"/>
                <a:gd name="connsiteX53" fmla="*/ 277215 w 1442445"/>
                <a:gd name="connsiteY53" fmla="*/ 111132 h 253421"/>
                <a:gd name="connsiteX54" fmla="*/ 242475 w 1442445"/>
                <a:gd name="connsiteY54" fmla="*/ 127585 h 253421"/>
                <a:gd name="connsiteX55" fmla="*/ 241192 w 1442445"/>
                <a:gd name="connsiteY55" fmla="*/ 128261 h 253421"/>
                <a:gd name="connsiteX56" fmla="*/ 241367 w 1442445"/>
                <a:gd name="connsiteY56" fmla="*/ 126822 h 253421"/>
                <a:gd name="connsiteX57" fmla="*/ 251156 w 1442445"/>
                <a:gd name="connsiteY57" fmla="*/ 88646 h 253421"/>
                <a:gd name="connsiteX58" fmla="*/ 252545 w 1442445"/>
                <a:gd name="connsiteY58" fmla="*/ 80952 h 253421"/>
                <a:gd name="connsiteX59" fmla="*/ 245959 w 1442445"/>
                <a:gd name="connsiteY59" fmla="*/ 75751 h 253421"/>
                <a:gd name="connsiteX60" fmla="*/ 232207 w 1442445"/>
                <a:gd name="connsiteY60" fmla="*/ 77129 h 253421"/>
                <a:gd name="connsiteX61" fmla="*/ 231531 w 1442445"/>
                <a:gd name="connsiteY61" fmla="*/ 77702 h 253421"/>
                <a:gd name="connsiteX62" fmla="*/ 231066 w 1442445"/>
                <a:gd name="connsiteY62" fmla="*/ 76946 h 253421"/>
                <a:gd name="connsiteX63" fmla="*/ 217225 w 1442445"/>
                <a:gd name="connsiteY63" fmla="*/ 69740 h 253421"/>
                <a:gd name="connsiteX64" fmla="*/ 168001 w 1442445"/>
                <a:gd name="connsiteY64" fmla="*/ 115549 h 253421"/>
                <a:gd name="connsiteX65" fmla="*/ 171245 w 1442445"/>
                <a:gd name="connsiteY65" fmla="*/ 125403 h 253421"/>
                <a:gd name="connsiteX66" fmla="*/ 194938 w 1442445"/>
                <a:gd name="connsiteY66" fmla="*/ 135359 h 253421"/>
                <a:gd name="connsiteX67" fmla="*/ 215506 w 1442445"/>
                <a:gd name="connsiteY67" fmla="*/ 123913 h 253421"/>
                <a:gd name="connsiteX68" fmla="*/ 216732 w 1442445"/>
                <a:gd name="connsiteY68" fmla="*/ 122424 h 253421"/>
                <a:gd name="connsiteX69" fmla="*/ 749451 w 1442445"/>
                <a:gd name="connsiteY69" fmla="*/ 123146 h 253421"/>
                <a:gd name="connsiteX70" fmla="*/ 748933 w 1442445"/>
                <a:gd name="connsiteY70" fmla="*/ 124260 h 253421"/>
                <a:gd name="connsiteX71" fmla="*/ 736446 w 1442445"/>
                <a:gd name="connsiteY71" fmla="*/ 153168 h 253421"/>
                <a:gd name="connsiteX72" fmla="*/ 686023 w 1442445"/>
                <a:gd name="connsiteY72" fmla="*/ 247447 h 253421"/>
                <a:gd name="connsiteX73" fmla="*/ 685027 w 1442445"/>
                <a:gd name="connsiteY73" fmla="*/ 251361 h 253421"/>
                <a:gd name="connsiteX74" fmla="*/ 688418 w 1442445"/>
                <a:gd name="connsiteY74" fmla="*/ 252925 h 253421"/>
                <a:gd name="connsiteX75" fmla="*/ 694067 w 1442445"/>
                <a:gd name="connsiteY75" fmla="*/ 251061 h 253421"/>
                <a:gd name="connsiteX76" fmla="*/ 759452 w 1442445"/>
                <a:gd name="connsiteY76" fmla="*/ 152915 h 253421"/>
                <a:gd name="connsiteX77" fmla="*/ 800006 w 1442445"/>
                <a:gd name="connsiteY77" fmla="*/ 90631 h 253421"/>
                <a:gd name="connsiteX78" fmla="*/ 803445 w 1442445"/>
                <a:gd name="connsiteY78" fmla="*/ 86925 h 253421"/>
                <a:gd name="connsiteX79" fmla="*/ 805155 w 1442445"/>
                <a:gd name="connsiteY79" fmla="*/ 82210 h 253421"/>
                <a:gd name="connsiteX80" fmla="*/ 796347 w 1442445"/>
                <a:gd name="connsiteY80" fmla="*/ 75753 h 253421"/>
                <a:gd name="connsiteX81" fmla="*/ 780168 w 1442445"/>
                <a:gd name="connsiteY81" fmla="*/ 78576 h 253421"/>
                <a:gd name="connsiteX82" fmla="*/ 779708 w 1442445"/>
                <a:gd name="connsiteY82" fmla="*/ 79103 h 253421"/>
                <a:gd name="connsiteX83" fmla="*/ 742943 w 1442445"/>
                <a:gd name="connsiteY83" fmla="*/ 110644 h 253421"/>
                <a:gd name="connsiteX84" fmla="*/ 738295 w 1442445"/>
                <a:gd name="connsiteY84" fmla="*/ 108708 h 253421"/>
                <a:gd name="connsiteX85" fmla="*/ 735919 w 1442445"/>
                <a:gd name="connsiteY85" fmla="*/ 89947 h 253421"/>
                <a:gd name="connsiteX86" fmla="*/ 736135 w 1442445"/>
                <a:gd name="connsiteY86" fmla="*/ 87022 h 253421"/>
                <a:gd name="connsiteX87" fmla="*/ 725821 w 1442445"/>
                <a:gd name="connsiteY87" fmla="*/ 77486 h 253421"/>
                <a:gd name="connsiteX88" fmla="*/ 686174 w 1442445"/>
                <a:gd name="connsiteY88" fmla="*/ 74501 h 253421"/>
                <a:gd name="connsiteX89" fmla="*/ 685297 w 1442445"/>
                <a:gd name="connsiteY89" fmla="*/ 74457 h 253421"/>
                <a:gd name="connsiteX90" fmla="*/ 685461 w 1442445"/>
                <a:gd name="connsiteY90" fmla="*/ 73598 h 253421"/>
                <a:gd name="connsiteX91" fmla="*/ 702421 w 1442445"/>
                <a:gd name="connsiteY91" fmla="*/ 20138 h 253421"/>
                <a:gd name="connsiteX92" fmla="*/ 705463 w 1442445"/>
                <a:gd name="connsiteY92" fmla="*/ 11228 h 253421"/>
                <a:gd name="connsiteX93" fmla="*/ 697406 w 1442445"/>
                <a:gd name="connsiteY93" fmla="*/ 6882 h 253421"/>
                <a:gd name="connsiteX94" fmla="*/ 692086 w 1442445"/>
                <a:gd name="connsiteY94" fmla="*/ 6143 h 253421"/>
                <a:gd name="connsiteX95" fmla="*/ 680433 w 1442445"/>
                <a:gd name="connsiteY95" fmla="*/ 15766 h 253421"/>
                <a:gd name="connsiteX96" fmla="*/ 664742 w 1442445"/>
                <a:gd name="connsiteY96" fmla="*/ 72980 h 253421"/>
                <a:gd name="connsiteX97" fmla="*/ 664641 w 1442445"/>
                <a:gd name="connsiteY97" fmla="*/ 73643 h 253421"/>
                <a:gd name="connsiteX98" fmla="*/ 663969 w 1442445"/>
                <a:gd name="connsiteY98" fmla="*/ 73630 h 253421"/>
                <a:gd name="connsiteX99" fmla="*/ 654532 w 1442445"/>
                <a:gd name="connsiteY99" fmla="*/ 73513 h 253421"/>
                <a:gd name="connsiteX100" fmla="*/ 649640 w 1442445"/>
                <a:gd name="connsiteY100" fmla="*/ 75073 h 253421"/>
                <a:gd name="connsiteX101" fmla="*/ 650059 w 1442445"/>
                <a:gd name="connsiteY101" fmla="*/ 79626 h 253421"/>
                <a:gd name="connsiteX102" fmla="*/ 662090 w 1442445"/>
                <a:gd name="connsiteY102" fmla="*/ 90556 h 253421"/>
                <a:gd name="connsiteX103" fmla="*/ 662686 w 1442445"/>
                <a:gd name="connsiteY103" fmla="*/ 90722 h 253421"/>
                <a:gd name="connsiteX104" fmla="*/ 662641 w 1442445"/>
                <a:gd name="connsiteY104" fmla="*/ 91344 h 253421"/>
                <a:gd name="connsiteX105" fmla="*/ 662135 w 1442445"/>
                <a:gd name="connsiteY105" fmla="*/ 104175 h 253421"/>
                <a:gd name="connsiteX106" fmla="*/ 680614 w 1442445"/>
                <a:gd name="connsiteY106" fmla="*/ 140450 h 253421"/>
                <a:gd name="connsiteX107" fmla="*/ 682221 w 1442445"/>
                <a:gd name="connsiteY107" fmla="*/ 140592 h 253421"/>
                <a:gd name="connsiteX108" fmla="*/ 686664 w 1442445"/>
                <a:gd name="connsiteY108" fmla="*/ 138959 h 253421"/>
                <a:gd name="connsiteX109" fmla="*/ 686256 w 1442445"/>
                <a:gd name="connsiteY109" fmla="*/ 136032 h 253421"/>
                <a:gd name="connsiteX110" fmla="*/ 682914 w 1442445"/>
                <a:gd name="connsiteY110" fmla="*/ 89880 h 253421"/>
                <a:gd name="connsiteX111" fmla="*/ 682981 w 1442445"/>
                <a:gd name="connsiteY111" fmla="*/ 89303 h 253421"/>
                <a:gd name="connsiteX112" fmla="*/ 683554 w 1442445"/>
                <a:gd name="connsiteY112" fmla="*/ 89217 h 253421"/>
                <a:gd name="connsiteX113" fmla="*/ 708705 w 1442445"/>
                <a:gd name="connsiteY113" fmla="*/ 86525 h 253421"/>
                <a:gd name="connsiteX114" fmla="*/ 708917 w 1442445"/>
                <a:gd name="connsiteY114" fmla="*/ 86525 h 253421"/>
                <a:gd name="connsiteX115" fmla="*/ 712368 w 1442445"/>
                <a:gd name="connsiteY115" fmla="*/ 87655 h 253421"/>
                <a:gd name="connsiteX116" fmla="*/ 713263 w 1442445"/>
                <a:gd name="connsiteY116" fmla="*/ 91480 h 253421"/>
                <a:gd name="connsiteX117" fmla="*/ 720689 w 1442445"/>
                <a:gd name="connsiteY117" fmla="*/ 113953 h 253421"/>
                <a:gd name="connsiteX118" fmla="*/ 748229 w 1442445"/>
                <a:gd name="connsiteY118" fmla="*/ 123167 h 253421"/>
                <a:gd name="connsiteX119" fmla="*/ 749451 w 1442445"/>
                <a:gd name="connsiteY119" fmla="*/ 123146 h 253421"/>
                <a:gd name="connsiteX120" fmla="*/ 188868 w 1442445"/>
                <a:gd name="connsiteY120" fmla="*/ 243354 h 253421"/>
                <a:gd name="connsiteX121" fmla="*/ 181762 w 1442445"/>
                <a:gd name="connsiteY121" fmla="*/ 239572 h 253421"/>
                <a:gd name="connsiteX122" fmla="*/ 184557 w 1442445"/>
                <a:gd name="connsiteY122" fmla="*/ 201910 h 253421"/>
                <a:gd name="connsiteX123" fmla="*/ 216242 w 1442445"/>
                <a:gd name="connsiteY123" fmla="*/ 159015 h 253421"/>
                <a:gd name="connsiteX124" fmla="*/ 217545 w 1442445"/>
                <a:gd name="connsiteY124" fmla="*/ 157911 h 253421"/>
                <a:gd name="connsiteX125" fmla="*/ 217499 w 1442445"/>
                <a:gd name="connsiteY125" fmla="*/ 159617 h 253421"/>
                <a:gd name="connsiteX126" fmla="*/ 188868 w 1442445"/>
                <a:gd name="connsiteY126" fmla="*/ 243354 h 253421"/>
                <a:gd name="connsiteX127" fmla="*/ 1286630 w 1442445"/>
                <a:gd name="connsiteY127" fmla="*/ 114260 h 253421"/>
                <a:gd name="connsiteX128" fmla="*/ 1286490 w 1442445"/>
                <a:gd name="connsiteY128" fmla="*/ 115158 h 253421"/>
                <a:gd name="connsiteX129" fmla="*/ 1282150 w 1442445"/>
                <a:gd name="connsiteY129" fmla="*/ 174938 h 253421"/>
                <a:gd name="connsiteX130" fmla="*/ 1293685 w 1442445"/>
                <a:gd name="connsiteY130" fmla="*/ 201154 h 253421"/>
                <a:gd name="connsiteX131" fmla="*/ 1301841 w 1442445"/>
                <a:gd name="connsiteY131" fmla="*/ 202381 h 253421"/>
                <a:gd name="connsiteX132" fmla="*/ 1302450 w 1442445"/>
                <a:gd name="connsiteY132" fmla="*/ 198934 h 253421"/>
                <a:gd name="connsiteX133" fmla="*/ 1307958 w 1442445"/>
                <a:gd name="connsiteY133" fmla="*/ 111612 h 253421"/>
                <a:gd name="connsiteX134" fmla="*/ 1308047 w 1442445"/>
                <a:gd name="connsiteY134" fmla="*/ 111110 h 253421"/>
                <a:gd name="connsiteX135" fmla="*/ 1308552 w 1442445"/>
                <a:gd name="connsiteY135" fmla="*/ 111002 h 253421"/>
                <a:gd name="connsiteX136" fmla="*/ 1339151 w 1442445"/>
                <a:gd name="connsiteY136" fmla="*/ 103218 h 253421"/>
                <a:gd name="connsiteX137" fmla="*/ 1340280 w 1442445"/>
                <a:gd name="connsiteY137" fmla="*/ 102876 h 253421"/>
                <a:gd name="connsiteX138" fmla="*/ 1340133 w 1442445"/>
                <a:gd name="connsiteY138" fmla="*/ 104045 h 253421"/>
                <a:gd name="connsiteX139" fmla="*/ 1349242 w 1442445"/>
                <a:gd name="connsiteY139" fmla="*/ 127770 h 253421"/>
                <a:gd name="connsiteX140" fmla="*/ 1408541 w 1442445"/>
                <a:gd name="connsiteY140" fmla="*/ 150288 h 253421"/>
                <a:gd name="connsiteX141" fmla="*/ 1440258 w 1442445"/>
                <a:gd name="connsiteY141" fmla="*/ 140484 h 253421"/>
                <a:gd name="connsiteX142" fmla="*/ 1442334 w 1442445"/>
                <a:gd name="connsiteY142" fmla="*/ 135829 h 253421"/>
                <a:gd name="connsiteX143" fmla="*/ 1439074 w 1442445"/>
                <a:gd name="connsiteY143" fmla="*/ 135285 h 253421"/>
                <a:gd name="connsiteX144" fmla="*/ 1411973 w 1442445"/>
                <a:gd name="connsiteY144" fmla="*/ 139190 h 253421"/>
                <a:gd name="connsiteX145" fmla="*/ 1368462 w 1442445"/>
                <a:gd name="connsiteY145" fmla="*/ 120524 h 253421"/>
                <a:gd name="connsiteX146" fmla="*/ 1367790 w 1442445"/>
                <a:gd name="connsiteY146" fmla="*/ 119489 h 253421"/>
                <a:gd name="connsiteX147" fmla="*/ 1369017 w 1442445"/>
                <a:gd name="connsiteY147" fmla="*/ 119351 h 253421"/>
                <a:gd name="connsiteX148" fmla="*/ 1405921 w 1442445"/>
                <a:gd name="connsiteY148" fmla="*/ 101937 h 253421"/>
                <a:gd name="connsiteX149" fmla="*/ 1404348 w 1442445"/>
                <a:gd name="connsiteY149" fmla="*/ 87467 h 253421"/>
                <a:gd name="connsiteX150" fmla="*/ 1381176 w 1442445"/>
                <a:gd name="connsiteY150" fmla="*/ 75136 h 253421"/>
                <a:gd name="connsiteX151" fmla="*/ 1348402 w 1442445"/>
                <a:gd name="connsiteY151" fmla="*/ 89029 h 253421"/>
                <a:gd name="connsiteX152" fmla="*/ 1348255 w 1442445"/>
                <a:gd name="connsiteY152" fmla="*/ 89173 h 253421"/>
                <a:gd name="connsiteX153" fmla="*/ 1348054 w 1442445"/>
                <a:gd name="connsiteY153" fmla="*/ 89225 h 253421"/>
                <a:gd name="connsiteX154" fmla="*/ 1312118 w 1442445"/>
                <a:gd name="connsiteY154" fmla="*/ 96172 h 253421"/>
                <a:gd name="connsiteX155" fmla="*/ 1311032 w 1442445"/>
                <a:gd name="connsiteY155" fmla="*/ 96312 h 253421"/>
                <a:gd name="connsiteX156" fmla="*/ 1311269 w 1442445"/>
                <a:gd name="connsiteY156" fmla="*/ 95249 h 253421"/>
                <a:gd name="connsiteX157" fmla="*/ 1329174 w 1442445"/>
                <a:gd name="connsiteY157" fmla="*/ 37752 h 253421"/>
                <a:gd name="connsiteX158" fmla="*/ 1337537 w 1442445"/>
                <a:gd name="connsiteY158" fmla="*/ 29441 h 253421"/>
                <a:gd name="connsiteX159" fmla="*/ 1345901 w 1442445"/>
                <a:gd name="connsiteY159" fmla="*/ 36297 h 253421"/>
                <a:gd name="connsiteX160" fmla="*/ 1348661 w 1442445"/>
                <a:gd name="connsiteY160" fmla="*/ 38841 h 253421"/>
                <a:gd name="connsiteX161" fmla="*/ 1352391 w 1442445"/>
                <a:gd name="connsiteY161" fmla="*/ 35348 h 253421"/>
                <a:gd name="connsiteX162" fmla="*/ 1344697 w 1442445"/>
                <a:gd name="connsiteY162" fmla="*/ 15524 h 253421"/>
                <a:gd name="connsiteX163" fmla="*/ 1330714 w 1442445"/>
                <a:gd name="connsiteY163" fmla="*/ 10469 h 253421"/>
                <a:gd name="connsiteX164" fmla="*/ 1317438 w 1442445"/>
                <a:gd name="connsiteY164" fmla="*/ 18414 h 253421"/>
                <a:gd name="connsiteX165" fmla="*/ 1289717 w 1442445"/>
                <a:gd name="connsiteY165" fmla="*/ 97321 h 253421"/>
                <a:gd name="connsiteX166" fmla="*/ 1289589 w 1442445"/>
                <a:gd name="connsiteY166" fmla="*/ 97928 h 253421"/>
                <a:gd name="connsiteX167" fmla="*/ 1288600 w 1442445"/>
                <a:gd name="connsiteY167" fmla="*/ 97932 h 253421"/>
                <a:gd name="connsiteX168" fmla="*/ 1276338 w 1442445"/>
                <a:gd name="connsiteY168" fmla="*/ 97077 h 253421"/>
                <a:gd name="connsiteX169" fmla="*/ 1269886 w 1442445"/>
                <a:gd name="connsiteY169" fmla="*/ 98554 h 253421"/>
                <a:gd name="connsiteX170" fmla="*/ 1273234 w 1442445"/>
                <a:gd name="connsiteY170" fmla="*/ 109255 h 253421"/>
                <a:gd name="connsiteX171" fmla="*/ 1285712 w 1442445"/>
                <a:gd name="connsiteY171" fmla="*/ 114277 h 253421"/>
                <a:gd name="connsiteX172" fmla="*/ 1286630 w 1442445"/>
                <a:gd name="connsiteY172" fmla="*/ 114260 h 253421"/>
                <a:gd name="connsiteX173" fmla="*/ 881319 w 1442445"/>
                <a:gd name="connsiteY173" fmla="*/ 108138 h 253421"/>
                <a:gd name="connsiteX174" fmla="*/ 881133 w 1442445"/>
                <a:gd name="connsiteY174" fmla="*/ 109264 h 253421"/>
                <a:gd name="connsiteX175" fmla="*/ 876744 w 1442445"/>
                <a:gd name="connsiteY175" fmla="*/ 163432 h 253421"/>
                <a:gd name="connsiteX176" fmla="*/ 886106 w 1442445"/>
                <a:gd name="connsiteY176" fmla="*/ 191752 h 253421"/>
                <a:gd name="connsiteX177" fmla="*/ 891329 w 1442445"/>
                <a:gd name="connsiteY177" fmla="*/ 193216 h 253421"/>
                <a:gd name="connsiteX178" fmla="*/ 894901 w 1442445"/>
                <a:gd name="connsiteY178" fmla="*/ 191929 h 253421"/>
                <a:gd name="connsiteX179" fmla="*/ 895769 w 1442445"/>
                <a:gd name="connsiteY179" fmla="*/ 188138 h 253421"/>
                <a:gd name="connsiteX180" fmla="*/ 902997 w 1442445"/>
                <a:gd name="connsiteY180" fmla="*/ 104460 h 253421"/>
                <a:gd name="connsiteX181" fmla="*/ 903101 w 1442445"/>
                <a:gd name="connsiteY181" fmla="*/ 103943 h 253421"/>
                <a:gd name="connsiteX182" fmla="*/ 903621 w 1442445"/>
                <a:gd name="connsiteY182" fmla="*/ 103861 h 253421"/>
                <a:gd name="connsiteX183" fmla="*/ 937159 w 1442445"/>
                <a:gd name="connsiteY183" fmla="*/ 99703 h 253421"/>
                <a:gd name="connsiteX184" fmla="*/ 938952 w 1442445"/>
                <a:gd name="connsiteY184" fmla="*/ 99548 h 253421"/>
                <a:gd name="connsiteX185" fmla="*/ 937822 w 1442445"/>
                <a:gd name="connsiteY185" fmla="*/ 100943 h 253421"/>
                <a:gd name="connsiteX186" fmla="*/ 934472 w 1442445"/>
                <a:gd name="connsiteY186" fmla="*/ 113320 h 253421"/>
                <a:gd name="connsiteX187" fmla="*/ 976219 w 1442445"/>
                <a:gd name="connsiteY187" fmla="*/ 143869 h 253421"/>
                <a:gd name="connsiteX188" fmla="*/ 1009468 w 1442445"/>
                <a:gd name="connsiteY188" fmla="*/ 114439 h 253421"/>
                <a:gd name="connsiteX189" fmla="*/ 975737 w 1442445"/>
                <a:gd name="connsiteY189" fmla="*/ 79587 h 253421"/>
                <a:gd name="connsiteX190" fmla="*/ 956828 w 1442445"/>
                <a:gd name="connsiteY190" fmla="*/ 87979 h 253421"/>
                <a:gd name="connsiteX191" fmla="*/ 956604 w 1442445"/>
                <a:gd name="connsiteY191" fmla="*/ 88206 h 253421"/>
                <a:gd name="connsiteX192" fmla="*/ 956275 w 1442445"/>
                <a:gd name="connsiteY192" fmla="*/ 88201 h 253421"/>
                <a:gd name="connsiteX193" fmla="*/ 944205 w 1442445"/>
                <a:gd name="connsiteY193" fmla="*/ 88117 h 253421"/>
                <a:gd name="connsiteX194" fmla="*/ 907393 w 1442445"/>
                <a:gd name="connsiteY194" fmla="*/ 89126 h 253421"/>
                <a:gd name="connsiteX195" fmla="*/ 906366 w 1442445"/>
                <a:gd name="connsiteY195" fmla="*/ 89189 h 253421"/>
                <a:gd name="connsiteX196" fmla="*/ 906611 w 1442445"/>
                <a:gd name="connsiteY196" fmla="*/ 88188 h 253421"/>
                <a:gd name="connsiteX197" fmla="*/ 925927 w 1442445"/>
                <a:gd name="connsiteY197" fmla="*/ 33100 h 253421"/>
                <a:gd name="connsiteX198" fmla="*/ 934494 w 1442445"/>
                <a:gd name="connsiteY198" fmla="*/ 25123 h 253421"/>
                <a:gd name="connsiteX199" fmla="*/ 935336 w 1442445"/>
                <a:gd name="connsiteY199" fmla="*/ 25078 h 253421"/>
                <a:gd name="connsiteX200" fmla="*/ 944378 w 1442445"/>
                <a:gd name="connsiteY200" fmla="*/ 33018 h 253421"/>
                <a:gd name="connsiteX201" fmla="*/ 947136 w 1442445"/>
                <a:gd name="connsiteY201" fmla="*/ 35115 h 253421"/>
                <a:gd name="connsiteX202" fmla="*/ 951333 w 1442445"/>
                <a:gd name="connsiteY202" fmla="*/ 32264 h 253421"/>
                <a:gd name="connsiteX203" fmla="*/ 952794 w 1442445"/>
                <a:gd name="connsiteY203" fmla="*/ 22105 h 253421"/>
                <a:gd name="connsiteX204" fmla="*/ 942449 w 1442445"/>
                <a:gd name="connsiteY204" fmla="*/ 9115 h 253421"/>
                <a:gd name="connsiteX205" fmla="*/ 929152 w 1442445"/>
                <a:gd name="connsiteY205" fmla="*/ 5277 h 253421"/>
                <a:gd name="connsiteX206" fmla="*/ 914857 w 1442445"/>
                <a:gd name="connsiteY206" fmla="*/ 13420 h 253421"/>
                <a:gd name="connsiteX207" fmla="*/ 884654 w 1442445"/>
                <a:gd name="connsiteY207" fmla="*/ 90659 h 253421"/>
                <a:gd name="connsiteX208" fmla="*/ 884542 w 1442445"/>
                <a:gd name="connsiteY208" fmla="*/ 91189 h 253421"/>
                <a:gd name="connsiteX209" fmla="*/ 884006 w 1442445"/>
                <a:gd name="connsiteY209" fmla="*/ 91253 h 253421"/>
                <a:gd name="connsiteX210" fmla="*/ 842750 w 1442445"/>
                <a:gd name="connsiteY210" fmla="*/ 101304 h 253421"/>
                <a:gd name="connsiteX211" fmla="*/ 838471 w 1442445"/>
                <a:gd name="connsiteY211" fmla="*/ 105397 h 253421"/>
                <a:gd name="connsiteX212" fmla="*/ 844411 w 1442445"/>
                <a:gd name="connsiteY212" fmla="*/ 112633 h 253421"/>
                <a:gd name="connsiteX213" fmla="*/ 860864 w 1442445"/>
                <a:gd name="connsiteY213" fmla="*/ 114709 h 253421"/>
                <a:gd name="connsiteX214" fmla="*/ 880211 w 1442445"/>
                <a:gd name="connsiteY214" fmla="*/ 108404 h 253421"/>
                <a:gd name="connsiteX215" fmla="*/ 881319 w 1442445"/>
                <a:gd name="connsiteY215" fmla="*/ 108138 h 253421"/>
                <a:gd name="connsiteX216" fmla="*/ 1227768 w 1442445"/>
                <a:gd name="connsiteY216" fmla="*/ 115454 h 253421"/>
                <a:gd name="connsiteX217" fmla="*/ 1227664 w 1442445"/>
                <a:gd name="connsiteY217" fmla="*/ 117867 h 253421"/>
                <a:gd name="connsiteX218" fmla="*/ 1239631 w 1442445"/>
                <a:gd name="connsiteY218" fmla="*/ 148474 h 253421"/>
                <a:gd name="connsiteX219" fmla="*/ 1246519 w 1442445"/>
                <a:gd name="connsiteY219" fmla="*/ 150934 h 253421"/>
                <a:gd name="connsiteX220" fmla="*/ 1249243 w 1442445"/>
                <a:gd name="connsiteY220" fmla="*/ 149956 h 253421"/>
                <a:gd name="connsiteX221" fmla="*/ 1249461 w 1442445"/>
                <a:gd name="connsiteY221" fmla="*/ 147331 h 253421"/>
                <a:gd name="connsiteX222" fmla="*/ 1253055 w 1442445"/>
                <a:gd name="connsiteY222" fmla="*/ 102941 h 253421"/>
                <a:gd name="connsiteX223" fmla="*/ 1248858 w 1442445"/>
                <a:gd name="connsiteY223" fmla="*/ 85370 h 253421"/>
                <a:gd name="connsiteX224" fmla="*/ 1235358 w 1442445"/>
                <a:gd name="connsiteY224" fmla="*/ 85214 h 253421"/>
                <a:gd name="connsiteX225" fmla="*/ 1234587 w 1442445"/>
                <a:gd name="connsiteY225" fmla="*/ 86344 h 253421"/>
                <a:gd name="connsiteX226" fmla="*/ 1234067 w 1442445"/>
                <a:gd name="connsiteY226" fmla="*/ 87115 h 253421"/>
                <a:gd name="connsiteX227" fmla="*/ 1181723 w 1442445"/>
                <a:gd name="connsiteY227" fmla="*/ 133568 h 253421"/>
                <a:gd name="connsiteX228" fmla="*/ 1175703 w 1442445"/>
                <a:gd name="connsiteY228" fmla="*/ 130956 h 253421"/>
                <a:gd name="connsiteX229" fmla="*/ 1172042 w 1442445"/>
                <a:gd name="connsiteY229" fmla="*/ 110901 h 253421"/>
                <a:gd name="connsiteX230" fmla="*/ 1196219 w 1442445"/>
                <a:gd name="connsiteY230" fmla="*/ 30370 h 253421"/>
                <a:gd name="connsiteX231" fmla="*/ 1198800 w 1442445"/>
                <a:gd name="connsiteY231" fmla="*/ 20667 h 253421"/>
                <a:gd name="connsiteX232" fmla="*/ 1190519 w 1442445"/>
                <a:gd name="connsiteY232" fmla="*/ 17988 h 253421"/>
                <a:gd name="connsiteX233" fmla="*/ 1189998 w 1442445"/>
                <a:gd name="connsiteY233" fmla="*/ 17984 h 253421"/>
                <a:gd name="connsiteX234" fmla="*/ 1172928 w 1442445"/>
                <a:gd name="connsiteY234" fmla="*/ 28953 h 253421"/>
                <a:gd name="connsiteX235" fmla="*/ 1151481 w 1442445"/>
                <a:gd name="connsiteY235" fmla="*/ 114843 h 253421"/>
                <a:gd name="connsiteX236" fmla="*/ 1160331 w 1442445"/>
                <a:gd name="connsiteY236" fmla="*/ 137272 h 253421"/>
                <a:gd name="connsiteX237" fmla="*/ 1184315 w 1442445"/>
                <a:gd name="connsiteY237" fmla="*/ 148390 h 253421"/>
                <a:gd name="connsiteX238" fmla="*/ 1226301 w 1442445"/>
                <a:gd name="connsiteY238" fmla="*/ 117379 h 253421"/>
                <a:gd name="connsiteX239" fmla="*/ 1227768 w 1442445"/>
                <a:gd name="connsiteY239" fmla="*/ 115454 h 253421"/>
                <a:gd name="connsiteX240" fmla="*/ 28894 w 1442445"/>
                <a:gd name="connsiteY240" fmla="*/ 0 h 253421"/>
                <a:gd name="connsiteX241" fmla="*/ 20520 w 1442445"/>
                <a:gd name="connsiteY241" fmla="*/ 6741 h 253421"/>
                <a:gd name="connsiteX242" fmla="*/ 15546 w 1442445"/>
                <a:gd name="connsiteY242" fmla="*/ 29303 h 253421"/>
                <a:gd name="connsiteX243" fmla="*/ 499 w 1442445"/>
                <a:gd name="connsiteY243" fmla="*/ 110069 h 253421"/>
                <a:gd name="connsiteX244" fmla="*/ 12312 w 1442445"/>
                <a:gd name="connsiteY244" fmla="*/ 148872 h 253421"/>
                <a:gd name="connsiteX245" fmla="*/ 16546 w 1442445"/>
                <a:gd name="connsiteY245" fmla="*/ 148364 h 253421"/>
                <a:gd name="connsiteX246" fmla="*/ 17766 w 1442445"/>
                <a:gd name="connsiteY246" fmla="*/ 144072 h 253421"/>
                <a:gd name="connsiteX247" fmla="*/ 43585 w 1442445"/>
                <a:gd name="connsiteY247" fmla="*/ 19961 h 253421"/>
                <a:gd name="connsiteX248" fmla="*/ 37489 w 1442445"/>
                <a:gd name="connsiteY248" fmla="*/ 2309 h 253421"/>
                <a:gd name="connsiteX249" fmla="*/ 28894 w 1442445"/>
                <a:gd name="connsiteY249" fmla="*/ 0 h 253421"/>
                <a:gd name="connsiteX250" fmla="*/ 1035677 w 1442445"/>
                <a:gd name="connsiteY250" fmla="*/ 82581 h 253421"/>
                <a:gd name="connsiteX251" fmla="*/ 1030750 w 1442445"/>
                <a:gd name="connsiteY251" fmla="*/ 84303 h 253421"/>
                <a:gd name="connsiteX252" fmla="*/ 1030491 w 1442445"/>
                <a:gd name="connsiteY252" fmla="*/ 88560 h 253421"/>
                <a:gd name="connsiteX253" fmla="*/ 1027588 w 1442445"/>
                <a:gd name="connsiteY253" fmla="*/ 124729 h 253421"/>
                <a:gd name="connsiteX254" fmla="*/ 1026748 w 1442445"/>
                <a:gd name="connsiteY254" fmla="*/ 128792 h 253421"/>
                <a:gd name="connsiteX255" fmla="*/ 1034174 w 1442445"/>
                <a:gd name="connsiteY255" fmla="*/ 142299 h 253421"/>
                <a:gd name="connsiteX256" fmla="*/ 1041360 w 1442445"/>
                <a:gd name="connsiteY256" fmla="*/ 144521 h 253421"/>
                <a:gd name="connsiteX257" fmla="*/ 1047598 w 1442445"/>
                <a:gd name="connsiteY257" fmla="*/ 139914 h 253421"/>
                <a:gd name="connsiteX258" fmla="*/ 1115820 w 1442445"/>
                <a:gd name="connsiteY258" fmla="*/ 87480 h 253421"/>
                <a:gd name="connsiteX259" fmla="*/ 1118196 w 1442445"/>
                <a:gd name="connsiteY259" fmla="*/ 85359 h 253421"/>
                <a:gd name="connsiteX260" fmla="*/ 1114459 w 1442445"/>
                <a:gd name="connsiteY260" fmla="*/ 79905 h 253421"/>
                <a:gd name="connsiteX261" fmla="*/ 1102948 w 1442445"/>
                <a:gd name="connsiteY261" fmla="*/ 77959 h 253421"/>
                <a:gd name="connsiteX262" fmla="*/ 1055450 w 1442445"/>
                <a:gd name="connsiteY262" fmla="*/ 93759 h 253421"/>
                <a:gd name="connsiteX263" fmla="*/ 1054594 w 1442445"/>
                <a:gd name="connsiteY263" fmla="*/ 94347 h 253421"/>
                <a:gd name="connsiteX264" fmla="*/ 1054288 w 1442445"/>
                <a:gd name="connsiteY264" fmla="*/ 93349 h 253421"/>
                <a:gd name="connsiteX265" fmla="*/ 1040105 w 1442445"/>
                <a:gd name="connsiteY265" fmla="*/ 83173 h 253421"/>
                <a:gd name="connsiteX266" fmla="*/ 1035677 w 1442445"/>
                <a:gd name="connsiteY266" fmla="*/ 82581 h 253421"/>
                <a:gd name="connsiteX267" fmla="*/ 72336 w 1442445"/>
                <a:gd name="connsiteY267" fmla="*/ 64197 h 253421"/>
                <a:gd name="connsiteX268" fmla="*/ 63303 w 1442445"/>
                <a:gd name="connsiteY268" fmla="*/ 72546 h 253421"/>
                <a:gd name="connsiteX269" fmla="*/ 51207 w 1442445"/>
                <a:gd name="connsiteY269" fmla="*/ 120871 h 253421"/>
                <a:gd name="connsiteX270" fmla="*/ 59536 w 1442445"/>
                <a:gd name="connsiteY270" fmla="*/ 138802 h 253421"/>
                <a:gd name="connsiteX271" fmla="*/ 80298 w 1442445"/>
                <a:gd name="connsiteY271" fmla="*/ 139270 h 253421"/>
                <a:gd name="connsiteX272" fmla="*/ 86340 w 1442445"/>
                <a:gd name="connsiteY272" fmla="*/ 132486 h 253421"/>
                <a:gd name="connsiteX273" fmla="*/ 114960 w 1442445"/>
                <a:gd name="connsiteY273" fmla="*/ 103866 h 253421"/>
                <a:gd name="connsiteX274" fmla="*/ 120599 w 1442445"/>
                <a:gd name="connsiteY274" fmla="*/ 106026 h 253421"/>
                <a:gd name="connsiteX275" fmla="*/ 158417 w 1442445"/>
                <a:gd name="connsiteY275" fmla="*/ 139100 h 253421"/>
                <a:gd name="connsiteX276" fmla="*/ 162462 w 1442445"/>
                <a:gd name="connsiteY276" fmla="*/ 138851 h 253421"/>
                <a:gd name="connsiteX277" fmla="*/ 167828 w 1442445"/>
                <a:gd name="connsiteY277" fmla="*/ 133948 h 253421"/>
                <a:gd name="connsiteX278" fmla="*/ 165149 w 1442445"/>
                <a:gd name="connsiteY278" fmla="*/ 131879 h 253421"/>
                <a:gd name="connsiteX279" fmla="*/ 164685 w 1442445"/>
                <a:gd name="connsiteY279" fmla="*/ 131883 h 253421"/>
                <a:gd name="connsiteX280" fmla="*/ 143409 w 1442445"/>
                <a:gd name="connsiteY280" fmla="*/ 97997 h 253421"/>
                <a:gd name="connsiteX281" fmla="*/ 142988 w 1442445"/>
                <a:gd name="connsiteY281" fmla="*/ 95971 h 253421"/>
                <a:gd name="connsiteX282" fmla="*/ 129207 w 1442445"/>
                <a:gd name="connsiteY282" fmla="*/ 81475 h 253421"/>
                <a:gd name="connsiteX283" fmla="*/ 123410 w 1442445"/>
                <a:gd name="connsiteY283" fmla="*/ 80307 h 253421"/>
                <a:gd name="connsiteX284" fmla="*/ 114202 w 1442445"/>
                <a:gd name="connsiteY284" fmla="*/ 84091 h 253421"/>
                <a:gd name="connsiteX285" fmla="*/ 88409 w 1442445"/>
                <a:gd name="connsiteY285" fmla="*/ 108361 h 253421"/>
                <a:gd name="connsiteX286" fmla="*/ 75633 w 1442445"/>
                <a:gd name="connsiteY286" fmla="*/ 120334 h 253421"/>
                <a:gd name="connsiteX287" fmla="*/ 74535 w 1442445"/>
                <a:gd name="connsiteY287" fmla="*/ 120586 h 253421"/>
                <a:gd name="connsiteX288" fmla="*/ 74710 w 1442445"/>
                <a:gd name="connsiteY288" fmla="*/ 119472 h 253421"/>
                <a:gd name="connsiteX289" fmla="*/ 86951 w 1442445"/>
                <a:gd name="connsiteY289" fmla="*/ 78153 h 253421"/>
                <a:gd name="connsiteX290" fmla="*/ 87202 w 1442445"/>
                <a:gd name="connsiteY290" fmla="*/ 72457 h 253421"/>
                <a:gd name="connsiteX291" fmla="*/ 79350 w 1442445"/>
                <a:gd name="connsiteY291" fmla="*/ 65889 h 253421"/>
                <a:gd name="connsiteX292" fmla="*/ 72336 w 1442445"/>
                <a:gd name="connsiteY292" fmla="*/ 64197 h 253421"/>
                <a:gd name="connsiteX293" fmla="*/ 559596 w 1442445"/>
                <a:gd name="connsiteY293" fmla="*/ 108886 h 253421"/>
                <a:gd name="connsiteX294" fmla="*/ 559669 w 1442445"/>
                <a:gd name="connsiteY294" fmla="*/ 110564 h 253421"/>
                <a:gd name="connsiteX295" fmla="*/ 579232 w 1442445"/>
                <a:gd name="connsiteY295" fmla="*/ 140188 h 253421"/>
                <a:gd name="connsiteX296" fmla="*/ 586615 w 1442445"/>
                <a:gd name="connsiteY296" fmla="*/ 139108 h 253421"/>
                <a:gd name="connsiteX297" fmla="*/ 586300 w 1442445"/>
                <a:gd name="connsiteY297" fmla="*/ 136184 h 253421"/>
                <a:gd name="connsiteX298" fmla="*/ 583645 w 1442445"/>
                <a:gd name="connsiteY298" fmla="*/ 92178 h 253421"/>
                <a:gd name="connsiteX299" fmla="*/ 575740 w 1442445"/>
                <a:gd name="connsiteY299" fmla="*/ 77136 h 253421"/>
                <a:gd name="connsiteX300" fmla="*/ 575508 w 1442445"/>
                <a:gd name="connsiteY300" fmla="*/ 76995 h 253421"/>
                <a:gd name="connsiteX301" fmla="*/ 568687 w 1442445"/>
                <a:gd name="connsiteY301" fmla="*/ 74786 h 253421"/>
                <a:gd name="connsiteX302" fmla="*/ 564259 w 1442445"/>
                <a:gd name="connsiteY302" fmla="*/ 77255 h 253421"/>
                <a:gd name="connsiteX303" fmla="*/ 523986 w 1442445"/>
                <a:gd name="connsiteY303" fmla="*/ 117348 h 253421"/>
                <a:gd name="connsiteX304" fmla="*/ 516890 w 1442445"/>
                <a:gd name="connsiteY304" fmla="*/ 113854 h 253421"/>
                <a:gd name="connsiteX305" fmla="*/ 520595 w 1442445"/>
                <a:gd name="connsiteY305" fmla="*/ 87450 h 253421"/>
                <a:gd name="connsiteX306" fmla="*/ 515357 w 1442445"/>
                <a:gd name="connsiteY306" fmla="*/ 74352 h 253421"/>
                <a:gd name="connsiteX307" fmla="*/ 506617 w 1442445"/>
                <a:gd name="connsiteY307" fmla="*/ 71654 h 253421"/>
                <a:gd name="connsiteX308" fmla="*/ 499775 w 1442445"/>
                <a:gd name="connsiteY308" fmla="*/ 75993 h 253421"/>
                <a:gd name="connsiteX309" fmla="*/ 491659 w 1442445"/>
                <a:gd name="connsiteY309" fmla="*/ 104933 h 253421"/>
                <a:gd name="connsiteX310" fmla="*/ 497539 w 1442445"/>
                <a:gd name="connsiteY310" fmla="*/ 123271 h 253421"/>
                <a:gd name="connsiteX311" fmla="*/ 518955 w 1442445"/>
                <a:gd name="connsiteY311" fmla="*/ 134466 h 253421"/>
                <a:gd name="connsiteX312" fmla="*/ 558384 w 1442445"/>
                <a:gd name="connsiteY312" fmla="*/ 110046 h 253421"/>
                <a:gd name="connsiteX313" fmla="*/ 559596 w 1442445"/>
                <a:gd name="connsiteY313" fmla="*/ 108886 h 253421"/>
                <a:gd name="connsiteX314" fmla="*/ 619622 w 1442445"/>
                <a:gd name="connsiteY314" fmla="*/ 71714 h 253421"/>
                <a:gd name="connsiteX315" fmla="*/ 610961 w 1442445"/>
                <a:gd name="connsiteY315" fmla="*/ 81704 h 253421"/>
                <a:gd name="connsiteX316" fmla="*/ 613129 w 1442445"/>
                <a:gd name="connsiteY316" fmla="*/ 128427 h 253421"/>
                <a:gd name="connsiteX317" fmla="*/ 626860 w 1442445"/>
                <a:gd name="connsiteY317" fmla="*/ 138227 h 253421"/>
                <a:gd name="connsiteX318" fmla="*/ 633695 w 1442445"/>
                <a:gd name="connsiteY318" fmla="*/ 136979 h 253421"/>
                <a:gd name="connsiteX319" fmla="*/ 633720 w 1442445"/>
                <a:gd name="connsiteY319" fmla="*/ 134594 h 253421"/>
                <a:gd name="connsiteX320" fmla="*/ 634168 w 1442445"/>
                <a:gd name="connsiteY320" fmla="*/ 89584 h 253421"/>
                <a:gd name="connsiteX321" fmla="*/ 628037 w 1442445"/>
                <a:gd name="connsiteY321" fmla="*/ 74060 h 253421"/>
                <a:gd name="connsiteX322" fmla="*/ 619622 w 1442445"/>
                <a:gd name="connsiteY322" fmla="*/ 71714 h 253421"/>
                <a:gd name="connsiteX323" fmla="*/ 972156 w 1442445"/>
                <a:gd name="connsiteY323" fmla="*/ 129924 h 253421"/>
                <a:gd name="connsiteX324" fmla="*/ 961513 w 1442445"/>
                <a:gd name="connsiteY324" fmla="*/ 125202 h 253421"/>
                <a:gd name="connsiteX325" fmla="*/ 958762 w 1442445"/>
                <a:gd name="connsiteY325" fmla="*/ 112970 h 253421"/>
                <a:gd name="connsiteX326" fmla="*/ 978392 w 1442445"/>
                <a:gd name="connsiteY326" fmla="*/ 95375 h 253421"/>
                <a:gd name="connsiteX327" fmla="*/ 987783 w 1442445"/>
                <a:gd name="connsiteY327" fmla="*/ 99384 h 253421"/>
                <a:gd name="connsiteX328" fmla="*/ 992026 w 1442445"/>
                <a:gd name="connsiteY328" fmla="*/ 110912 h 253421"/>
                <a:gd name="connsiteX329" fmla="*/ 972156 w 1442445"/>
                <a:gd name="connsiteY329" fmla="*/ 129924 h 253421"/>
                <a:gd name="connsiteX330" fmla="*/ 197152 w 1442445"/>
                <a:gd name="connsiteY330" fmla="*/ 119748 h 253421"/>
                <a:gd name="connsiteX331" fmla="*/ 194076 w 1442445"/>
                <a:gd name="connsiteY331" fmla="*/ 118357 h 253421"/>
                <a:gd name="connsiteX332" fmla="*/ 193685 w 1442445"/>
                <a:gd name="connsiteY332" fmla="*/ 112955 h 253421"/>
                <a:gd name="connsiteX333" fmla="*/ 218480 w 1442445"/>
                <a:gd name="connsiteY333" fmla="*/ 82968 h 253421"/>
                <a:gd name="connsiteX334" fmla="*/ 223584 w 1442445"/>
                <a:gd name="connsiteY334" fmla="*/ 85962 h 253421"/>
                <a:gd name="connsiteX335" fmla="*/ 224273 w 1442445"/>
                <a:gd name="connsiteY335" fmla="*/ 95822 h 253421"/>
                <a:gd name="connsiteX336" fmla="*/ 197152 w 1442445"/>
                <a:gd name="connsiteY336" fmla="*/ 119748 h 253421"/>
                <a:gd name="connsiteX337" fmla="*/ 1363738 w 1442445"/>
                <a:gd name="connsiteY337" fmla="*/ 108089 h 253421"/>
                <a:gd name="connsiteX338" fmla="*/ 1363649 w 1442445"/>
                <a:gd name="connsiteY338" fmla="*/ 107292 h 253421"/>
                <a:gd name="connsiteX339" fmla="*/ 1377013 w 1442445"/>
                <a:gd name="connsiteY339" fmla="*/ 88389 h 253421"/>
                <a:gd name="connsiteX340" fmla="*/ 1380586 w 1442445"/>
                <a:gd name="connsiteY340" fmla="*/ 87789 h 253421"/>
                <a:gd name="connsiteX341" fmla="*/ 1387537 w 1442445"/>
                <a:gd name="connsiteY341" fmla="*/ 91416 h 253421"/>
                <a:gd name="connsiteX342" fmla="*/ 1386241 w 1442445"/>
                <a:gd name="connsiteY342" fmla="*/ 98420 h 253421"/>
                <a:gd name="connsiteX343" fmla="*/ 1364526 w 1442445"/>
                <a:gd name="connsiteY343" fmla="*/ 107961 h 253421"/>
                <a:gd name="connsiteX344" fmla="*/ 1363738 w 1442445"/>
                <a:gd name="connsiteY344" fmla="*/ 108089 h 253421"/>
                <a:gd name="connsiteX345" fmla="*/ 304292 w 1442445"/>
                <a:gd name="connsiteY345" fmla="*/ 99125 h 253421"/>
                <a:gd name="connsiteX346" fmla="*/ 304627 w 1442445"/>
                <a:gd name="connsiteY346" fmla="*/ 97563 h 253421"/>
                <a:gd name="connsiteX347" fmla="*/ 319961 w 1442445"/>
                <a:gd name="connsiteY347" fmla="*/ 74613 h 253421"/>
                <a:gd name="connsiteX348" fmla="*/ 323812 w 1442445"/>
                <a:gd name="connsiteY348" fmla="*/ 73621 h 253421"/>
                <a:gd name="connsiteX349" fmla="*/ 329750 w 1442445"/>
                <a:gd name="connsiteY349" fmla="*/ 77047 h 253421"/>
                <a:gd name="connsiteX350" fmla="*/ 326480 w 1442445"/>
                <a:gd name="connsiteY350" fmla="*/ 85028 h 253421"/>
                <a:gd name="connsiteX351" fmla="*/ 305716 w 1442445"/>
                <a:gd name="connsiteY351" fmla="*/ 98405 h 253421"/>
                <a:gd name="connsiteX352" fmla="*/ 304292 w 1442445"/>
                <a:gd name="connsiteY352" fmla="*/ 99125 h 253421"/>
                <a:gd name="connsiteX353" fmla="*/ 1261641 w 1442445"/>
                <a:gd name="connsiteY353" fmla="*/ 19896 h 253421"/>
                <a:gd name="connsiteX354" fmla="*/ 1256744 w 1442445"/>
                <a:gd name="connsiteY354" fmla="*/ 21537 h 253421"/>
                <a:gd name="connsiteX355" fmla="*/ 1257043 w 1442445"/>
                <a:gd name="connsiteY355" fmla="*/ 28283 h 253421"/>
                <a:gd name="connsiteX356" fmla="*/ 1277789 w 1442445"/>
                <a:gd name="connsiteY356" fmla="*/ 43377 h 253421"/>
                <a:gd name="connsiteX357" fmla="*/ 1281971 w 1442445"/>
                <a:gd name="connsiteY357" fmla="*/ 41444 h 253421"/>
                <a:gd name="connsiteX358" fmla="*/ 1275811 w 1442445"/>
                <a:gd name="connsiteY358" fmla="*/ 25605 h 253421"/>
                <a:gd name="connsiteX359" fmla="*/ 1261641 w 1442445"/>
                <a:gd name="connsiteY359" fmla="*/ 19896 h 253421"/>
                <a:gd name="connsiteX360" fmla="*/ 625925 w 1442445"/>
                <a:gd name="connsiteY360" fmla="*/ 19326 h 253421"/>
                <a:gd name="connsiteX361" fmla="*/ 622106 w 1442445"/>
                <a:gd name="connsiteY361" fmla="*/ 21021 h 253421"/>
                <a:gd name="connsiteX362" fmla="*/ 621730 w 1442445"/>
                <a:gd name="connsiteY362" fmla="*/ 28400 h 253421"/>
                <a:gd name="connsiteX363" fmla="*/ 641816 w 1442445"/>
                <a:gd name="connsiteY363" fmla="*/ 40722 h 253421"/>
                <a:gd name="connsiteX364" fmla="*/ 647305 w 1442445"/>
                <a:gd name="connsiteY364" fmla="*/ 38517 h 253421"/>
                <a:gd name="connsiteX365" fmla="*/ 646929 w 1442445"/>
                <a:gd name="connsiteY365" fmla="*/ 34841 h 253421"/>
                <a:gd name="connsiteX366" fmla="*/ 625925 w 1442445"/>
                <a:gd name="connsiteY366" fmla="*/ 19326 h 25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</a:cxnLst>
              <a:rect l="l" t="t" r="r" b="b"/>
              <a:pathLst>
                <a:path w="1442445" h="253421">
                  <a:moveTo>
                    <a:pt x="216732" y="122424"/>
                  </a:moveTo>
                  <a:lnTo>
                    <a:pt x="216847" y="124360"/>
                  </a:lnTo>
                  <a:cubicBezTo>
                    <a:pt x="217214" y="130397"/>
                    <a:pt x="217454" y="136279"/>
                    <a:pt x="217558" y="141852"/>
                  </a:cubicBezTo>
                  <a:lnTo>
                    <a:pt x="217564" y="142268"/>
                  </a:lnTo>
                  <a:lnTo>
                    <a:pt x="217218" y="142499"/>
                  </a:lnTo>
                  <a:cubicBezTo>
                    <a:pt x="191054" y="160032"/>
                    <a:pt x="174792" y="178958"/>
                    <a:pt x="167502" y="200338"/>
                  </a:cubicBezTo>
                  <a:cubicBezTo>
                    <a:pt x="161853" y="216905"/>
                    <a:pt x="162795" y="232813"/>
                    <a:pt x="170016" y="242905"/>
                  </a:cubicBezTo>
                  <a:cubicBezTo>
                    <a:pt x="174939" y="249787"/>
                    <a:pt x="182306" y="253422"/>
                    <a:pt x="191320" y="253422"/>
                  </a:cubicBezTo>
                  <a:cubicBezTo>
                    <a:pt x="206855" y="253422"/>
                    <a:pt x="219102" y="241618"/>
                    <a:pt x="227720" y="218333"/>
                  </a:cubicBezTo>
                  <a:cubicBezTo>
                    <a:pt x="236661" y="194186"/>
                    <a:pt x="239514" y="163564"/>
                    <a:pt x="240333" y="142128"/>
                  </a:cubicBezTo>
                  <a:lnTo>
                    <a:pt x="240352" y="141722"/>
                  </a:lnTo>
                  <a:lnTo>
                    <a:pt x="240698" y="141506"/>
                  </a:lnTo>
                  <a:cubicBezTo>
                    <a:pt x="252094" y="134507"/>
                    <a:pt x="265523" y="127563"/>
                    <a:pt x="280599" y="120863"/>
                  </a:cubicBezTo>
                  <a:lnTo>
                    <a:pt x="281180" y="120601"/>
                  </a:lnTo>
                  <a:lnTo>
                    <a:pt x="281539" y="121131"/>
                  </a:lnTo>
                  <a:cubicBezTo>
                    <a:pt x="288380" y="131198"/>
                    <a:pt x="303938" y="141394"/>
                    <a:pt x="320438" y="141394"/>
                  </a:cubicBezTo>
                  <a:cubicBezTo>
                    <a:pt x="340786" y="141394"/>
                    <a:pt x="360625" y="125673"/>
                    <a:pt x="368211" y="118919"/>
                  </a:cubicBezTo>
                  <a:lnTo>
                    <a:pt x="369209" y="118029"/>
                  </a:lnTo>
                  <a:lnTo>
                    <a:pt x="369466" y="119340"/>
                  </a:lnTo>
                  <a:cubicBezTo>
                    <a:pt x="370671" y="125483"/>
                    <a:pt x="374188" y="130283"/>
                    <a:pt x="380216" y="134019"/>
                  </a:cubicBezTo>
                  <a:cubicBezTo>
                    <a:pt x="390094" y="140143"/>
                    <a:pt x="397857" y="140249"/>
                    <a:pt x="403847" y="134233"/>
                  </a:cubicBezTo>
                  <a:cubicBezTo>
                    <a:pt x="408290" y="129768"/>
                    <a:pt x="411787" y="125671"/>
                    <a:pt x="414871" y="122062"/>
                  </a:cubicBezTo>
                  <a:cubicBezTo>
                    <a:pt x="420109" y="115927"/>
                    <a:pt x="424630" y="110633"/>
                    <a:pt x="431782" y="105667"/>
                  </a:cubicBezTo>
                  <a:cubicBezTo>
                    <a:pt x="434860" y="103516"/>
                    <a:pt x="437929" y="104363"/>
                    <a:pt x="439953" y="107827"/>
                  </a:cubicBezTo>
                  <a:cubicBezTo>
                    <a:pt x="452164" y="128714"/>
                    <a:pt x="466184" y="140327"/>
                    <a:pt x="480494" y="141400"/>
                  </a:cubicBezTo>
                  <a:cubicBezTo>
                    <a:pt x="484767" y="141705"/>
                    <a:pt x="488244" y="140454"/>
                    <a:pt x="488800" y="138519"/>
                  </a:cubicBezTo>
                  <a:cubicBezTo>
                    <a:pt x="489171" y="137218"/>
                    <a:pt x="488093" y="135663"/>
                    <a:pt x="485843" y="134261"/>
                  </a:cubicBezTo>
                  <a:cubicBezTo>
                    <a:pt x="476710" y="128574"/>
                    <a:pt x="468830" y="117113"/>
                    <a:pt x="461754" y="99211"/>
                  </a:cubicBezTo>
                  <a:cubicBezTo>
                    <a:pt x="459339" y="93137"/>
                    <a:pt x="456121" y="89271"/>
                    <a:pt x="445219" y="85020"/>
                  </a:cubicBezTo>
                  <a:cubicBezTo>
                    <a:pt x="443154" y="84218"/>
                    <a:pt x="441295" y="83821"/>
                    <a:pt x="439539" y="83821"/>
                  </a:cubicBezTo>
                  <a:cubicBezTo>
                    <a:pt x="435867" y="83821"/>
                    <a:pt x="433281" y="85577"/>
                    <a:pt x="430775" y="87277"/>
                  </a:cubicBezTo>
                  <a:lnTo>
                    <a:pt x="430112" y="87722"/>
                  </a:lnTo>
                  <a:cubicBezTo>
                    <a:pt x="422587" y="92763"/>
                    <a:pt x="413537" y="102166"/>
                    <a:pt x="406933" y="109028"/>
                  </a:cubicBezTo>
                  <a:cubicBezTo>
                    <a:pt x="403935" y="112147"/>
                    <a:pt x="401341" y="114841"/>
                    <a:pt x="399667" y="116307"/>
                  </a:cubicBezTo>
                  <a:cubicBezTo>
                    <a:pt x="396794" y="118826"/>
                    <a:pt x="394643" y="119314"/>
                    <a:pt x="393358" y="117975"/>
                  </a:cubicBezTo>
                  <a:cubicBezTo>
                    <a:pt x="392379" y="116962"/>
                    <a:pt x="392232" y="115160"/>
                    <a:pt x="392278" y="113823"/>
                  </a:cubicBezTo>
                  <a:cubicBezTo>
                    <a:pt x="392654" y="103617"/>
                    <a:pt x="395522" y="93264"/>
                    <a:pt x="401577" y="80248"/>
                  </a:cubicBezTo>
                  <a:cubicBezTo>
                    <a:pt x="402626" y="77985"/>
                    <a:pt x="402767" y="75909"/>
                    <a:pt x="401994" y="74079"/>
                  </a:cubicBezTo>
                  <a:cubicBezTo>
                    <a:pt x="400937" y="71574"/>
                    <a:pt x="398170" y="69476"/>
                    <a:pt x="394001" y="68021"/>
                  </a:cubicBezTo>
                  <a:cubicBezTo>
                    <a:pt x="391347" y="67087"/>
                    <a:pt x="389126" y="66636"/>
                    <a:pt x="387204" y="66636"/>
                  </a:cubicBezTo>
                  <a:cubicBezTo>
                    <a:pt x="382199" y="66636"/>
                    <a:pt x="379869" y="69841"/>
                    <a:pt x="377914" y="74652"/>
                  </a:cubicBezTo>
                  <a:cubicBezTo>
                    <a:pt x="374367" y="83369"/>
                    <a:pt x="372464" y="90277"/>
                    <a:pt x="370637" y="101051"/>
                  </a:cubicBezTo>
                  <a:lnTo>
                    <a:pt x="370594" y="101297"/>
                  </a:lnTo>
                  <a:lnTo>
                    <a:pt x="370414" y="101466"/>
                  </a:lnTo>
                  <a:cubicBezTo>
                    <a:pt x="352268" y="119215"/>
                    <a:pt x="336215" y="128215"/>
                    <a:pt x="322704" y="128215"/>
                  </a:cubicBezTo>
                  <a:cubicBezTo>
                    <a:pt x="312142" y="128215"/>
                    <a:pt x="305267" y="122092"/>
                    <a:pt x="303845" y="111415"/>
                  </a:cubicBezTo>
                  <a:lnTo>
                    <a:pt x="303772" y="110851"/>
                  </a:lnTo>
                  <a:lnTo>
                    <a:pt x="304288" y="110618"/>
                  </a:lnTo>
                  <a:cubicBezTo>
                    <a:pt x="319211" y="103887"/>
                    <a:pt x="333995" y="96476"/>
                    <a:pt x="341019" y="87903"/>
                  </a:cubicBezTo>
                  <a:cubicBezTo>
                    <a:pt x="346142" y="81639"/>
                    <a:pt x="345170" y="76010"/>
                    <a:pt x="343455" y="72390"/>
                  </a:cubicBezTo>
                  <a:cubicBezTo>
                    <a:pt x="340248" y="65619"/>
                    <a:pt x="331631" y="60316"/>
                    <a:pt x="323836" y="60316"/>
                  </a:cubicBezTo>
                  <a:cubicBezTo>
                    <a:pt x="313976" y="60316"/>
                    <a:pt x="277739" y="78561"/>
                    <a:pt x="277673" y="110434"/>
                  </a:cubicBezTo>
                  <a:lnTo>
                    <a:pt x="277668" y="110931"/>
                  </a:lnTo>
                  <a:lnTo>
                    <a:pt x="277215" y="111132"/>
                  </a:lnTo>
                  <a:cubicBezTo>
                    <a:pt x="268493" y="114936"/>
                    <a:pt x="255403" y="120776"/>
                    <a:pt x="242475" y="127585"/>
                  </a:cubicBezTo>
                  <a:lnTo>
                    <a:pt x="241192" y="128261"/>
                  </a:lnTo>
                  <a:lnTo>
                    <a:pt x="241367" y="126822"/>
                  </a:lnTo>
                  <a:cubicBezTo>
                    <a:pt x="243551" y="108564"/>
                    <a:pt x="248726" y="93865"/>
                    <a:pt x="251156" y="88646"/>
                  </a:cubicBezTo>
                  <a:cubicBezTo>
                    <a:pt x="252789" y="85145"/>
                    <a:pt x="253219" y="82769"/>
                    <a:pt x="252545" y="80952"/>
                  </a:cubicBezTo>
                  <a:cubicBezTo>
                    <a:pt x="251850" y="79067"/>
                    <a:pt x="249940" y="77561"/>
                    <a:pt x="245959" y="75751"/>
                  </a:cubicBezTo>
                  <a:cubicBezTo>
                    <a:pt x="240959" y="73481"/>
                    <a:pt x="235866" y="74021"/>
                    <a:pt x="232207" y="77129"/>
                  </a:cubicBezTo>
                  <a:lnTo>
                    <a:pt x="231531" y="77702"/>
                  </a:lnTo>
                  <a:lnTo>
                    <a:pt x="231066" y="76946"/>
                  </a:lnTo>
                  <a:cubicBezTo>
                    <a:pt x="231021" y="76877"/>
                    <a:pt x="226498" y="69740"/>
                    <a:pt x="217225" y="69740"/>
                  </a:cubicBezTo>
                  <a:cubicBezTo>
                    <a:pt x="198137" y="69740"/>
                    <a:pt x="170066" y="102609"/>
                    <a:pt x="168001" y="115549"/>
                  </a:cubicBezTo>
                  <a:cubicBezTo>
                    <a:pt x="167461" y="118930"/>
                    <a:pt x="168554" y="122247"/>
                    <a:pt x="171245" y="125403"/>
                  </a:cubicBezTo>
                  <a:cubicBezTo>
                    <a:pt x="176349" y="131388"/>
                    <a:pt x="186853" y="135836"/>
                    <a:pt x="194938" y="135359"/>
                  </a:cubicBezTo>
                  <a:cubicBezTo>
                    <a:pt x="203012" y="134873"/>
                    <a:pt x="211261" y="129090"/>
                    <a:pt x="215506" y="123913"/>
                  </a:cubicBezTo>
                  <a:lnTo>
                    <a:pt x="216732" y="122424"/>
                  </a:lnTo>
                  <a:close/>
                  <a:moveTo>
                    <a:pt x="749451" y="123146"/>
                  </a:moveTo>
                  <a:lnTo>
                    <a:pt x="748933" y="124260"/>
                  </a:lnTo>
                  <a:cubicBezTo>
                    <a:pt x="744723" y="133140"/>
                    <a:pt x="740701" y="142869"/>
                    <a:pt x="736446" y="153168"/>
                  </a:cubicBezTo>
                  <a:cubicBezTo>
                    <a:pt x="724557" y="181991"/>
                    <a:pt x="711070" y="214652"/>
                    <a:pt x="686023" y="247447"/>
                  </a:cubicBezTo>
                  <a:cubicBezTo>
                    <a:pt x="684876" y="248953"/>
                    <a:pt x="684521" y="250342"/>
                    <a:pt x="685027" y="251361"/>
                  </a:cubicBezTo>
                  <a:cubicBezTo>
                    <a:pt x="685504" y="252340"/>
                    <a:pt x="686781" y="252925"/>
                    <a:pt x="688418" y="252925"/>
                  </a:cubicBezTo>
                  <a:cubicBezTo>
                    <a:pt x="690172" y="252925"/>
                    <a:pt x="692185" y="252262"/>
                    <a:pt x="694067" y="251061"/>
                  </a:cubicBezTo>
                  <a:cubicBezTo>
                    <a:pt x="710824" y="240389"/>
                    <a:pt x="734659" y="204612"/>
                    <a:pt x="759452" y="152915"/>
                  </a:cubicBezTo>
                  <a:cubicBezTo>
                    <a:pt x="778151" y="113972"/>
                    <a:pt x="790275" y="101030"/>
                    <a:pt x="800006" y="90631"/>
                  </a:cubicBezTo>
                  <a:cubicBezTo>
                    <a:pt x="801181" y="89376"/>
                    <a:pt x="802328" y="88154"/>
                    <a:pt x="803445" y="86925"/>
                  </a:cubicBezTo>
                  <a:cubicBezTo>
                    <a:pt x="804954" y="85272"/>
                    <a:pt x="805529" y="83685"/>
                    <a:pt x="805155" y="82210"/>
                  </a:cubicBezTo>
                  <a:cubicBezTo>
                    <a:pt x="804531" y="79799"/>
                    <a:pt x="801406" y="77503"/>
                    <a:pt x="796347" y="75753"/>
                  </a:cubicBezTo>
                  <a:cubicBezTo>
                    <a:pt x="789353" y="73332"/>
                    <a:pt x="784024" y="74243"/>
                    <a:pt x="780168" y="78576"/>
                  </a:cubicBezTo>
                  <a:lnTo>
                    <a:pt x="779708" y="79103"/>
                  </a:lnTo>
                  <a:cubicBezTo>
                    <a:pt x="767027" y="93493"/>
                    <a:pt x="750343" y="110644"/>
                    <a:pt x="742943" y="110644"/>
                  </a:cubicBezTo>
                  <a:cubicBezTo>
                    <a:pt x="741044" y="110644"/>
                    <a:pt x="739476" y="109989"/>
                    <a:pt x="738295" y="108708"/>
                  </a:cubicBezTo>
                  <a:cubicBezTo>
                    <a:pt x="734722" y="104836"/>
                    <a:pt x="735413" y="96230"/>
                    <a:pt x="735919" y="89947"/>
                  </a:cubicBezTo>
                  <a:cubicBezTo>
                    <a:pt x="736007" y="88862"/>
                    <a:pt x="736091" y="87871"/>
                    <a:pt x="736135" y="87022"/>
                  </a:cubicBezTo>
                  <a:cubicBezTo>
                    <a:pt x="736418" y="81631"/>
                    <a:pt x="733435" y="78868"/>
                    <a:pt x="725821" y="77486"/>
                  </a:cubicBezTo>
                  <a:cubicBezTo>
                    <a:pt x="720032" y="76434"/>
                    <a:pt x="700843" y="75218"/>
                    <a:pt x="686174" y="74501"/>
                  </a:cubicBezTo>
                  <a:lnTo>
                    <a:pt x="685297" y="74457"/>
                  </a:lnTo>
                  <a:lnTo>
                    <a:pt x="685461" y="73598"/>
                  </a:lnTo>
                  <a:cubicBezTo>
                    <a:pt x="689630" y="51585"/>
                    <a:pt x="696445" y="30102"/>
                    <a:pt x="702421" y="20138"/>
                  </a:cubicBezTo>
                  <a:cubicBezTo>
                    <a:pt x="704674" y="16379"/>
                    <a:pt x="706335" y="13338"/>
                    <a:pt x="705463" y="11228"/>
                  </a:cubicBezTo>
                  <a:cubicBezTo>
                    <a:pt x="704741" y="9474"/>
                    <a:pt x="702177" y="8089"/>
                    <a:pt x="697406" y="6882"/>
                  </a:cubicBezTo>
                  <a:cubicBezTo>
                    <a:pt x="695477" y="6387"/>
                    <a:pt x="693693" y="6143"/>
                    <a:pt x="692086" y="6143"/>
                  </a:cubicBezTo>
                  <a:cubicBezTo>
                    <a:pt x="684340" y="6143"/>
                    <a:pt x="681994" y="11932"/>
                    <a:pt x="680433" y="15766"/>
                  </a:cubicBezTo>
                  <a:cubicBezTo>
                    <a:pt x="673279" y="33404"/>
                    <a:pt x="667721" y="53698"/>
                    <a:pt x="664742" y="72980"/>
                  </a:cubicBezTo>
                  <a:lnTo>
                    <a:pt x="664641" y="73643"/>
                  </a:lnTo>
                  <a:lnTo>
                    <a:pt x="663969" y="73630"/>
                  </a:lnTo>
                  <a:cubicBezTo>
                    <a:pt x="660070" y="73520"/>
                    <a:pt x="656811" y="73479"/>
                    <a:pt x="654532" y="73513"/>
                  </a:cubicBezTo>
                  <a:cubicBezTo>
                    <a:pt x="651899" y="73548"/>
                    <a:pt x="650301" y="74056"/>
                    <a:pt x="649640" y="75073"/>
                  </a:cubicBezTo>
                  <a:cubicBezTo>
                    <a:pt x="649026" y="76019"/>
                    <a:pt x="649167" y="77548"/>
                    <a:pt x="650059" y="79626"/>
                  </a:cubicBezTo>
                  <a:cubicBezTo>
                    <a:pt x="651439" y="82821"/>
                    <a:pt x="654839" y="88495"/>
                    <a:pt x="662090" y="90556"/>
                  </a:cubicBezTo>
                  <a:lnTo>
                    <a:pt x="662686" y="90722"/>
                  </a:lnTo>
                  <a:lnTo>
                    <a:pt x="662641" y="91344"/>
                  </a:lnTo>
                  <a:cubicBezTo>
                    <a:pt x="662327" y="95699"/>
                    <a:pt x="662163" y="100017"/>
                    <a:pt x="662135" y="104175"/>
                  </a:cubicBezTo>
                  <a:cubicBezTo>
                    <a:pt x="661971" y="125448"/>
                    <a:pt x="668358" y="137989"/>
                    <a:pt x="680614" y="140450"/>
                  </a:cubicBezTo>
                  <a:cubicBezTo>
                    <a:pt x="681096" y="140547"/>
                    <a:pt x="681649" y="140592"/>
                    <a:pt x="682221" y="140592"/>
                  </a:cubicBezTo>
                  <a:cubicBezTo>
                    <a:pt x="683835" y="140592"/>
                    <a:pt x="685962" y="140167"/>
                    <a:pt x="686664" y="138959"/>
                  </a:cubicBezTo>
                  <a:cubicBezTo>
                    <a:pt x="687085" y="138238"/>
                    <a:pt x="686947" y="137251"/>
                    <a:pt x="686256" y="136032"/>
                  </a:cubicBezTo>
                  <a:cubicBezTo>
                    <a:pt x="680147" y="125250"/>
                    <a:pt x="681068" y="104982"/>
                    <a:pt x="682914" y="89880"/>
                  </a:cubicBezTo>
                  <a:lnTo>
                    <a:pt x="682981" y="89303"/>
                  </a:lnTo>
                  <a:lnTo>
                    <a:pt x="683554" y="89217"/>
                  </a:lnTo>
                  <a:cubicBezTo>
                    <a:pt x="691591" y="88035"/>
                    <a:pt x="701709" y="86653"/>
                    <a:pt x="708705" y="86525"/>
                  </a:cubicBezTo>
                  <a:lnTo>
                    <a:pt x="708917" y="86525"/>
                  </a:lnTo>
                  <a:cubicBezTo>
                    <a:pt x="710524" y="86525"/>
                    <a:pt x="711655" y="86892"/>
                    <a:pt x="712368" y="87655"/>
                  </a:cubicBezTo>
                  <a:cubicBezTo>
                    <a:pt x="713301" y="88636"/>
                    <a:pt x="713351" y="90076"/>
                    <a:pt x="713263" y="91480"/>
                  </a:cubicBezTo>
                  <a:cubicBezTo>
                    <a:pt x="713068" y="94688"/>
                    <a:pt x="713010" y="105784"/>
                    <a:pt x="720689" y="113953"/>
                  </a:cubicBezTo>
                  <a:cubicBezTo>
                    <a:pt x="726687" y="120327"/>
                    <a:pt x="735960" y="123453"/>
                    <a:pt x="748229" y="123167"/>
                  </a:cubicBezTo>
                  <a:lnTo>
                    <a:pt x="749451" y="123146"/>
                  </a:lnTo>
                  <a:close/>
                  <a:moveTo>
                    <a:pt x="188868" y="243354"/>
                  </a:moveTo>
                  <a:cubicBezTo>
                    <a:pt x="185955" y="243354"/>
                    <a:pt x="183497" y="242047"/>
                    <a:pt x="181762" y="239572"/>
                  </a:cubicBezTo>
                  <a:cubicBezTo>
                    <a:pt x="179094" y="235768"/>
                    <a:pt x="175911" y="225822"/>
                    <a:pt x="184557" y="201910"/>
                  </a:cubicBezTo>
                  <a:cubicBezTo>
                    <a:pt x="190175" y="186384"/>
                    <a:pt x="200541" y="172351"/>
                    <a:pt x="216242" y="159015"/>
                  </a:cubicBezTo>
                  <a:lnTo>
                    <a:pt x="217545" y="157911"/>
                  </a:lnTo>
                  <a:lnTo>
                    <a:pt x="217499" y="159617"/>
                  </a:lnTo>
                  <a:cubicBezTo>
                    <a:pt x="216128" y="208917"/>
                    <a:pt x="204353" y="243354"/>
                    <a:pt x="188868" y="243354"/>
                  </a:cubicBezTo>
                  <a:close/>
                  <a:moveTo>
                    <a:pt x="1286630" y="114260"/>
                  </a:moveTo>
                  <a:lnTo>
                    <a:pt x="1286490" y="115158"/>
                  </a:lnTo>
                  <a:cubicBezTo>
                    <a:pt x="1282716" y="138782"/>
                    <a:pt x="1281094" y="161127"/>
                    <a:pt x="1282150" y="174938"/>
                  </a:cubicBezTo>
                  <a:cubicBezTo>
                    <a:pt x="1283572" y="193400"/>
                    <a:pt x="1289412" y="198737"/>
                    <a:pt x="1293685" y="201154"/>
                  </a:cubicBezTo>
                  <a:cubicBezTo>
                    <a:pt x="1297167" y="203124"/>
                    <a:pt x="1300636" y="203723"/>
                    <a:pt x="1301841" y="202381"/>
                  </a:cubicBezTo>
                  <a:cubicBezTo>
                    <a:pt x="1302435" y="201709"/>
                    <a:pt x="1302644" y="200554"/>
                    <a:pt x="1302450" y="198934"/>
                  </a:cubicBezTo>
                  <a:cubicBezTo>
                    <a:pt x="1299860" y="176599"/>
                    <a:pt x="1301869" y="144774"/>
                    <a:pt x="1307958" y="111612"/>
                  </a:cubicBezTo>
                  <a:lnTo>
                    <a:pt x="1308047" y="111110"/>
                  </a:lnTo>
                  <a:lnTo>
                    <a:pt x="1308552" y="111002"/>
                  </a:lnTo>
                  <a:cubicBezTo>
                    <a:pt x="1318674" y="108903"/>
                    <a:pt x="1329536" y="106138"/>
                    <a:pt x="1339151" y="103218"/>
                  </a:cubicBezTo>
                  <a:lnTo>
                    <a:pt x="1340280" y="102876"/>
                  </a:lnTo>
                  <a:lnTo>
                    <a:pt x="1340133" y="104045"/>
                  </a:lnTo>
                  <a:cubicBezTo>
                    <a:pt x="1339187" y="111482"/>
                    <a:pt x="1342507" y="120131"/>
                    <a:pt x="1349242" y="127770"/>
                  </a:cubicBezTo>
                  <a:cubicBezTo>
                    <a:pt x="1361848" y="142080"/>
                    <a:pt x="1383465" y="150288"/>
                    <a:pt x="1408541" y="150288"/>
                  </a:cubicBezTo>
                  <a:cubicBezTo>
                    <a:pt x="1423194" y="150288"/>
                    <a:pt x="1435912" y="144558"/>
                    <a:pt x="1440258" y="140484"/>
                  </a:cubicBezTo>
                  <a:cubicBezTo>
                    <a:pt x="1442118" y="138750"/>
                    <a:pt x="1442723" y="136791"/>
                    <a:pt x="1442334" y="135829"/>
                  </a:cubicBezTo>
                  <a:cubicBezTo>
                    <a:pt x="1442008" y="134993"/>
                    <a:pt x="1440809" y="134793"/>
                    <a:pt x="1439074" y="135285"/>
                  </a:cubicBezTo>
                  <a:cubicBezTo>
                    <a:pt x="1429862" y="137875"/>
                    <a:pt x="1420738" y="139190"/>
                    <a:pt x="1411973" y="139190"/>
                  </a:cubicBezTo>
                  <a:cubicBezTo>
                    <a:pt x="1392038" y="139190"/>
                    <a:pt x="1376179" y="132386"/>
                    <a:pt x="1368462" y="120524"/>
                  </a:cubicBezTo>
                  <a:lnTo>
                    <a:pt x="1367790" y="119489"/>
                  </a:lnTo>
                  <a:lnTo>
                    <a:pt x="1369017" y="119351"/>
                  </a:lnTo>
                  <a:cubicBezTo>
                    <a:pt x="1384318" y="117588"/>
                    <a:pt x="1402951" y="108799"/>
                    <a:pt x="1405921" y="101937"/>
                  </a:cubicBezTo>
                  <a:cubicBezTo>
                    <a:pt x="1408532" y="95917"/>
                    <a:pt x="1406508" y="90744"/>
                    <a:pt x="1404348" y="87467"/>
                  </a:cubicBezTo>
                  <a:cubicBezTo>
                    <a:pt x="1399661" y="80317"/>
                    <a:pt x="1389911" y="75136"/>
                    <a:pt x="1381176" y="75136"/>
                  </a:cubicBezTo>
                  <a:cubicBezTo>
                    <a:pt x="1370192" y="75136"/>
                    <a:pt x="1356709" y="80849"/>
                    <a:pt x="1348402" y="89029"/>
                  </a:cubicBezTo>
                  <a:lnTo>
                    <a:pt x="1348255" y="89173"/>
                  </a:lnTo>
                  <a:lnTo>
                    <a:pt x="1348054" y="89225"/>
                  </a:lnTo>
                  <a:cubicBezTo>
                    <a:pt x="1335850" y="92275"/>
                    <a:pt x="1323424" y="94679"/>
                    <a:pt x="1312118" y="96172"/>
                  </a:cubicBezTo>
                  <a:lnTo>
                    <a:pt x="1311032" y="96312"/>
                  </a:lnTo>
                  <a:lnTo>
                    <a:pt x="1311269" y="95249"/>
                  </a:lnTo>
                  <a:cubicBezTo>
                    <a:pt x="1316179" y="73168"/>
                    <a:pt x="1322372" y="53289"/>
                    <a:pt x="1329174" y="37752"/>
                  </a:cubicBezTo>
                  <a:cubicBezTo>
                    <a:pt x="1331346" y="32778"/>
                    <a:pt x="1333504" y="29657"/>
                    <a:pt x="1337537" y="29441"/>
                  </a:cubicBezTo>
                  <a:cubicBezTo>
                    <a:pt x="1341302" y="29164"/>
                    <a:pt x="1344211" y="31629"/>
                    <a:pt x="1345901" y="36297"/>
                  </a:cubicBezTo>
                  <a:cubicBezTo>
                    <a:pt x="1346451" y="37841"/>
                    <a:pt x="1347538" y="38841"/>
                    <a:pt x="1348661" y="38841"/>
                  </a:cubicBezTo>
                  <a:cubicBezTo>
                    <a:pt x="1349948" y="38841"/>
                    <a:pt x="1351273" y="37601"/>
                    <a:pt x="1352391" y="35348"/>
                  </a:cubicBezTo>
                  <a:cubicBezTo>
                    <a:pt x="1354668" y="30754"/>
                    <a:pt x="1352836" y="20993"/>
                    <a:pt x="1344697" y="15524"/>
                  </a:cubicBezTo>
                  <a:cubicBezTo>
                    <a:pt x="1339697" y="12169"/>
                    <a:pt x="1334995" y="10469"/>
                    <a:pt x="1330714" y="10469"/>
                  </a:cubicBezTo>
                  <a:cubicBezTo>
                    <a:pt x="1325361" y="10469"/>
                    <a:pt x="1320765" y="13215"/>
                    <a:pt x="1317438" y="18414"/>
                  </a:cubicBezTo>
                  <a:cubicBezTo>
                    <a:pt x="1306355" y="35716"/>
                    <a:pt x="1296512" y="63739"/>
                    <a:pt x="1289717" y="97321"/>
                  </a:cubicBezTo>
                  <a:lnTo>
                    <a:pt x="1289589" y="97928"/>
                  </a:lnTo>
                  <a:lnTo>
                    <a:pt x="1288600" y="97932"/>
                  </a:lnTo>
                  <a:cubicBezTo>
                    <a:pt x="1283904" y="97932"/>
                    <a:pt x="1279783" y="97645"/>
                    <a:pt x="1276338" y="97077"/>
                  </a:cubicBezTo>
                  <a:cubicBezTo>
                    <a:pt x="1272944" y="96522"/>
                    <a:pt x="1270698" y="97032"/>
                    <a:pt x="1269886" y="98554"/>
                  </a:cubicBezTo>
                  <a:cubicBezTo>
                    <a:pt x="1268808" y="100572"/>
                    <a:pt x="1270026" y="104468"/>
                    <a:pt x="1273234" y="109255"/>
                  </a:cubicBezTo>
                  <a:cubicBezTo>
                    <a:pt x="1276292" y="113819"/>
                    <a:pt x="1280489" y="114389"/>
                    <a:pt x="1285712" y="114277"/>
                  </a:cubicBezTo>
                  <a:lnTo>
                    <a:pt x="1286630" y="114260"/>
                  </a:lnTo>
                  <a:close/>
                  <a:moveTo>
                    <a:pt x="881319" y="108138"/>
                  </a:moveTo>
                  <a:lnTo>
                    <a:pt x="881133" y="109264"/>
                  </a:lnTo>
                  <a:cubicBezTo>
                    <a:pt x="877816" y="129501"/>
                    <a:pt x="876178" y="149753"/>
                    <a:pt x="876744" y="163432"/>
                  </a:cubicBezTo>
                  <a:cubicBezTo>
                    <a:pt x="877399" y="179042"/>
                    <a:pt x="880466" y="188307"/>
                    <a:pt x="886106" y="191752"/>
                  </a:cubicBezTo>
                  <a:cubicBezTo>
                    <a:pt x="887579" y="192655"/>
                    <a:pt x="889573" y="193216"/>
                    <a:pt x="891329" y="193216"/>
                  </a:cubicBezTo>
                  <a:cubicBezTo>
                    <a:pt x="892430" y="193216"/>
                    <a:pt x="893949" y="192992"/>
                    <a:pt x="894901" y="191929"/>
                  </a:cubicBezTo>
                  <a:cubicBezTo>
                    <a:pt x="895659" y="191080"/>
                    <a:pt x="895955" y="189806"/>
                    <a:pt x="895769" y="188138"/>
                  </a:cubicBezTo>
                  <a:cubicBezTo>
                    <a:pt x="893664" y="168916"/>
                    <a:pt x="896433" y="136855"/>
                    <a:pt x="902997" y="104460"/>
                  </a:cubicBezTo>
                  <a:lnTo>
                    <a:pt x="903101" y="103943"/>
                  </a:lnTo>
                  <a:lnTo>
                    <a:pt x="903621" y="103861"/>
                  </a:lnTo>
                  <a:cubicBezTo>
                    <a:pt x="914620" y="102092"/>
                    <a:pt x="926221" y="100649"/>
                    <a:pt x="937159" y="99703"/>
                  </a:cubicBezTo>
                  <a:lnTo>
                    <a:pt x="938952" y="99548"/>
                  </a:lnTo>
                  <a:lnTo>
                    <a:pt x="937822" y="100943"/>
                  </a:lnTo>
                  <a:cubicBezTo>
                    <a:pt x="935574" y="103710"/>
                    <a:pt x="934472" y="107760"/>
                    <a:pt x="934472" y="113320"/>
                  </a:cubicBezTo>
                  <a:cubicBezTo>
                    <a:pt x="934472" y="125779"/>
                    <a:pt x="950739" y="143869"/>
                    <a:pt x="976219" y="143869"/>
                  </a:cubicBezTo>
                  <a:cubicBezTo>
                    <a:pt x="991280" y="143869"/>
                    <a:pt x="1009468" y="130743"/>
                    <a:pt x="1009468" y="114439"/>
                  </a:cubicBezTo>
                  <a:cubicBezTo>
                    <a:pt x="1009468" y="93591"/>
                    <a:pt x="992026" y="79587"/>
                    <a:pt x="975737" y="79587"/>
                  </a:cubicBezTo>
                  <a:cubicBezTo>
                    <a:pt x="969093" y="79587"/>
                    <a:pt x="962200" y="82646"/>
                    <a:pt x="956828" y="87979"/>
                  </a:cubicBezTo>
                  <a:lnTo>
                    <a:pt x="956604" y="88206"/>
                  </a:lnTo>
                  <a:lnTo>
                    <a:pt x="956275" y="88201"/>
                  </a:lnTo>
                  <a:cubicBezTo>
                    <a:pt x="952243" y="88147"/>
                    <a:pt x="948210" y="88117"/>
                    <a:pt x="944205" y="88117"/>
                  </a:cubicBezTo>
                  <a:cubicBezTo>
                    <a:pt x="930835" y="88117"/>
                    <a:pt x="918452" y="88454"/>
                    <a:pt x="907393" y="89126"/>
                  </a:cubicBezTo>
                  <a:lnTo>
                    <a:pt x="906366" y="89189"/>
                  </a:lnTo>
                  <a:lnTo>
                    <a:pt x="906611" y="88188"/>
                  </a:lnTo>
                  <a:cubicBezTo>
                    <a:pt x="912201" y="65163"/>
                    <a:pt x="918884" y="46114"/>
                    <a:pt x="925927" y="33100"/>
                  </a:cubicBezTo>
                  <a:cubicBezTo>
                    <a:pt x="928742" y="27912"/>
                    <a:pt x="930647" y="25531"/>
                    <a:pt x="934494" y="25123"/>
                  </a:cubicBezTo>
                  <a:cubicBezTo>
                    <a:pt x="934783" y="25093"/>
                    <a:pt x="935066" y="25078"/>
                    <a:pt x="935336" y="25078"/>
                  </a:cubicBezTo>
                  <a:cubicBezTo>
                    <a:pt x="939056" y="25078"/>
                    <a:pt x="942093" y="27749"/>
                    <a:pt x="944378" y="33018"/>
                  </a:cubicBezTo>
                  <a:cubicBezTo>
                    <a:pt x="944817" y="34031"/>
                    <a:pt x="945776" y="35115"/>
                    <a:pt x="947136" y="35115"/>
                  </a:cubicBezTo>
                  <a:cubicBezTo>
                    <a:pt x="948469" y="35115"/>
                    <a:pt x="949921" y="34128"/>
                    <a:pt x="951333" y="32264"/>
                  </a:cubicBezTo>
                  <a:cubicBezTo>
                    <a:pt x="953143" y="29873"/>
                    <a:pt x="953686" y="26071"/>
                    <a:pt x="952794" y="22105"/>
                  </a:cubicBezTo>
                  <a:cubicBezTo>
                    <a:pt x="951536" y="16593"/>
                    <a:pt x="947769" y="11858"/>
                    <a:pt x="942449" y="9115"/>
                  </a:cubicBezTo>
                  <a:cubicBezTo>
                    <a:pt x="937509" y="6566"/>
                    <a:pt x="933029" y="5277"/>
                    <a:pt x="929152" y="5277"/>
                  </a:cubicBezTo>
                  <a:cubicBezTo>
                    <a:pt x="923512" y="5277"/>
                    <a:pt x="918832" y="7938"/>
                    <a:pt x="914857" y="13420"/>
                  </a:cubicBezTo>
                  <a:cubicBezTo>
                    <a:pt x="898934" y="35376"/>
                    <a:pt x="889646" y="67543"/>
                    <a:pt x="884654" y="90659"/>
                  </a:cubicBezTo>
                  <a:lnTo>
                    <a:pt x="884542" y="91189"/>
                  </a:lnTo>
                  <a:lnTo>
                    <a:pt x="884006" y="91253"/>
                  </a:lnTo>
                  <a:cubicBezTo>
                    <a:pt x="866711" y="93433"/>
                    <a:pt x="852839" y="96816"/>
                    <a:pt x="842750" y="101304"/>
                  </a:cubicBezTo>
                  <a:cubicBezTo>
                    <a:pt x="840041" y="102509"/>
                    <a:pt x="838596" y="103885"/>
                    <a:pt x="838471" y="105397"/>
                  </a:cubicBezTo>
                  <a:cubicBezTo>
                    <a:pt x="838301" y="107397"/>
                    <a:pt x="840355" y="109899"/>
                    <a:pt x="844411" y="112633"/>
                  </a:cubicBezTo>
                  <a:cubicBezTo>
                    <a:pt x="850744" y="116899"/>
                    <a:pt x="855790" y="117515"/>
                    <a:pt x="860864" y="114709"/>
                  </a:cubicBezTo>
                  <a:cubicBezTo>
                    <a:pt x="864465" y="112717"/>
                    <a:pt x="871163" y="110536"/>
                    <a:pt x="880211" y="108404"/>
                  </a:cubicBezTo>
                  <a:lnTo>
                    <a:pt x="881319" y="108138"/>
                  </a:lnTo>
                  <a:close/>
                  <a:moveTo>
                    <a:pt x="1227768" y="115454"/>
                  </a:moveTo>
                  <a:lnTo>
                    <a:pt x="1227664" y="117867"/>
                  </a:lnTo>
                  <a:cubicBezTo>
                    <a:pt x="1227068" y="132289"/>
                    <a:pt x="1230982" y="142301"/>
                    <a:pt x="1239631" y="148474"/>
                  </a:cubicBezTo>
                  <a:cubicBezTo>
                    <a:pt x="1241756" y="149993"/>
                    <a:pt x="1244391" y="150934"/>
                    <a:pt x="1246519" y="150934"/>
                  </a:cubicBezTo>
                  <a:cubicBezTo>
                    <a:pt x="1247793" y="150934"/>
                    <a:pt x="1248767" y="150589"/>
                    <a:pt x="1249243" y="149956"/>
                  </a:cubicBezTo>
                  <a:cubicBezTo>
                    <a:pt x="1249705" y="149357"/>
                    <a:pt x="1249772" y="148474"/>
                    <a:pt x="1249461" y="147331"/>
                  </a:cubicBezTo>
                  <a:cubicBezTo>
                    <a:pt x="1246061" y="134955"/>
                    <a:pt x="1247376" y="118772"/>
                    <a:pt x="1253055" y="102941"/>
                  </a:cubicBezTo>
                  <a:cubicBezTo>
                    <a:pt x="1255956" y="94837"/>
                    <a:pt x="1257198" y="90024"/>
                    <a:pt x="1248858" y="85370"/>
                  </a:cubicBezTo>
                  <a:cubicBezTo>
                    <a:pt x="1242497" y="81810"/>
                    <a:pt x="1237905" y="81706"/>
                    <a:pt x="1235358" y="85214"/>
                  </a:cubicBezTo>
                  <a:cubicBezTo>
                    <a:pt x="1235093" y="85573"/>
                    <a:pt x="1234846" y="85949"/>
                    <a:pt x="1234587" y="86344"/>
                  </a:cubicBezTo>
                  <a:lnTo>
                    <a:pt x="1234067" y="87115"/>
                  </a:lnTo>
                  <a:cubicBezTo>
                    <a:pt x="1219413" y="108542"/>
                    <a:pt x="1196904" y="133568"/>
                    <a:pt x="1181723" y="133568"/>
                  </a:cubicBezTo>
                  <a:cubicBezTo>
                    <a:pt x="1179328" y="133568"/>
                    <a:pt x="1177304" y="132691"/>
                    <a:pt x="1175703" y="130956"/>
                  </a:cubicBezTo>
                  <a:cubicBezTo>
                    <a:pt x="1172468" y="127446"/>
                    <a:pt x="1171241" y="120701"/>
                    <a:pt x="1172042" y="110901"/>
                  </a:cubicBezTo>
                  <a:cubicBezTo>
                    <a:pt x="1174090" y="85927"/>
                    <a:pt x="1184940" y="49805"/>
                    <a:pt x="1196219" y="30370"/>
                  </a:cubicBezTo>
                  <a:cubicBezTo>
                    <a:pt x="1199049" y="25501"/>
                    <a:pt x="1199844" y="22509"/>
                    <a:pt x="1198800" y="20667"/>
                  </a:cubicBezTo>
                  <a:cubicBezTo>
                    <a:pt x="1197843" y="18963"/>
                    <a:pt x="1195059" y="18064"/>
                    <a:pt x="1190519" y="17988"/>
                  </a:cubicBezTo>
                  <a:lnTo>
                    <a:pt x="1189998" y="17984"/>
                  </a:lnTo>
                  <a:cubicBezTo>
                    <a:pt x="1179356" y="17984"/>
                    <a:pt x="1175399" y="23529"/>
                    <a:pt x="1172928" y="28953"/>
                  </a:cubicBezTo>
                  <a:cubicBezTo>
                    <a:pt x="1163456" y="49836"/>
                    <a:pt x="1152049" y="81687"/>
                    <a:pt x="1151481" y="114843"/>
                  </a:cubicBezTo>
                  <a:cubicBezTo>
                    <a:pt x="1151334" y="123597"/>
                    <a:pt x="1154311" y="131144"/>
                    <a:pt x="1160331" y="137272"/>
                  </a:cubicBezTo>
                  <a:cubicBezTo>
                    <a:pt x="1168353" y="145428"/>
                    <a:pt x="1179069" y="148390"/>
                    <a:pt x="1184315" y="148390"/>
                  </a:cubicBezTo>
                  <a:cubicBezTo>
                    <a:pt x="1200271" y="148390"/>
                    <a:pt x="1217476" y="128958"/>
                    <a:pt x="1226301" y="117379"/>
                  </a:cubicBezTo>
                  <a:lnTo>
                    <a:pt x="1227768" y="115454"/>
                  </a:lnTo>
                  <a:close/>
                  <a:moveTo>
                    <a:pt x="28894" y="0"/>
                  </a:moveTo>
                  <a:cubicBezTo>
                    <a:pt x="23659" y="0"/>
                    <a:pt x="21136" y="3482"/>
                    <a:pt x="20520" y="6741"/>
                  </a:cubicBezTo>
                  <a:cubicBezTo>
                    <a:pt x="19527" y="12003"/>
                    <a:pt x="17682" y="20021"/>
                    <a:pt x="15546" y="29303"/>
                  </a:cubicBezTo>
                  <a:cubicBezTo>
                    <a:pt x="9999" y="53425"/>
                    <a:pt x="2398" y="86463"/>
                    <a:pt x="499" y="110069"/>
                  </a:cubicBezTo>
                  <a:cubicBezTo>
                    <a:pt x="-1905" y="140016"/>
                    <a:pt x="4757" y="146416"/>
                    <a:pt x="12312" y="148872"/>
                  </a:cubicBezTo>
                  <a:cubicBezTo>
                    <a:pt x="14109" y="149466"/>
                    <a:pt x="15636" y="149288"/>
                    <a:pt x="16546" y="148364"/>
                  </a:cubicBezTo>
                  <a:cubicBezTo>
                    <a:pt x="17375" y="147526"/>
                    <a:pt x="17786" y="146083"/>
                    <a:pt x="17766" y="144072"/>
                  </a:cubicBezTo>
                  <a:cubicBezTo>
                    <a:pt x="17546" y="118431"/>
                    <a:pt x="34707" y="48635"/>
                    <a:pt x="43585" y="19961"/>
                  </a:cubicBezTo>
                  <a:cubicBezTo>
                    <a:pt x="46928" y="9154"/>
                    <a:pt x="44023" y="5424"/>
                    <a:pt x="37489" y="2309"/>
                  </a:cubicBezTo>
                  <a:cubicBezTo>
                    <a:pt x="34273" y="775"/>
                    <a:pt x="31383" y="0"/>
                    <a:pt x="28894" y="0"/>
                  </a:cubicBezTo>
                  <a:close/>
                  <a:moveTo>
                    <a:pt x="1035677" y="82581"/>
                  </a:moveTo>
                  <a:cubicBezTo>
                    <a:pt x="1034012" y="82581"/>
                    <a:pt x="1031808" y="82881"/>
                    <a:pt x="1030750" y="84303"/>
                  </a:cubicBezTo>
                  <a:cubicBezTo>
                    <a:pt x="1030022" y="85281"/>
                    <a:pt x="1029931" y="86715"/>
                    <a:pt x="1030491" y="88560"/>
                  </a:cubicBezTo>
                  <a:cubicBezTo>
                    <a:pt x="1033266" y="97723"/>
                    <a:pt x="1029711" y="114627"/>
                    <a:pt x="1027588" y="124729"/>
                  </a:cubicBezTo>
                  <a:cubicBezTo>
                    <a:pt x="1027270" y="126267"/>
                    <a:pt x="1026979" y="127639"/>
                    <a:pt x="1026748" y="128792"/>
                  </a:cubicBezTo>
                  <a:cubicBezTo>
                    <a:pt x="1025156" y="137000"/>
                    <a:pt x="1028936" y="139223"/>
                    <a:pt x="1034174" y="142299"/>
                  </a:cubicBezTo>
                  <a:cubicBezTo>
                    <a:pt x="1036612" y="143735"/>
                    <a:pt x="1039159" y="144521"/>
                    <a:pt x="1041360" y="144521"/>
                  </a:cubicBezTo>
                  <a:cubicBezTo>
                    <a:pt x="1043533" y="144521"/>
                    <a:pt x="1046382" y="143724"/>
                    <a:pt x="1047598" y="139914"/>
                  </a:cubicBezTo>
                  <a:cubicBezTo>
                    <a:pt x="1053504" y="121213"/>
                    <a:pt x="1070233" y="89530"/>
                    <a:pt x="1115820" y="87480"/>
                  </a:cubicBezTo>
                  <a:cubicBezTo>
                    <a:pt x="1117070" y="87430"/>
                    <a:pt x="1117962" y="86631"/>
                    <a:pt x="1118196" y="85359"/>
                  </a:cubicBezTo>
                  <a:cubicBezTo>
                    <a:pt x="1118522" y="83596"/>
                    <a:pt x="1117496" y="81220"/>
                    <a:pt x="1114459" y="79905"/>
                  </a:cubicBezTo>
                  <a:cubicBezTo>
                    <a:pt x="1111491" y="78613"/>
                    <a:pt x="1107614" y="77959"/>
                    <a:pt x="1102948" y="77959"/>
                  </a:cubicBezTo>
                  <a:cubicBezTo>
                    <a:pt x="1088349" y="77959"/>
                    <a:pt x="1069267" y="84309"/>
                    <a:pt x="1055450" y="93759"/>
                  </a:cubicBezTo>
                  <a:lnTo>
                    <a:pt x="1054594" y="94347"/>
                  </a:lnTo>
                  <a:lnTo>
                    <a:pt x="1054288" y="93349"/>
                  </a:lnTo>
                  <a:cubicBezTo>
                    <a:pt x="1053849" y="91902"/>
                    <a:pt x="1046868" y="84873"/>
                    <a:pt x="1040105" y="83173"/>
                  </a:cubicBezTo>
                  <a:cubicBezTo>
                    <a:pt x="1038578" y="82784"/>
                    <a:pt x="1037044" y="82581"/>
                    <a:pt x="1035677" y="82581"/>
                  </a:cubicBezTo>
                  <a:close/>
                  <a:moveTo>
                    <a:pt x="72336" y="64197"/>
                  </a:moveTo>
                  <a:cubicBezTo>
                    <a:pt x="67641" y="64197"/>
                    <a:pt x="65398" y="67394"/>
                    <a:pt x="63303" y="72546"/>
                  </a:cubicBezTo>
                  <a:cubicBezTo>
                    <a:pt x="59020" y="83067"/>
                    <a:pt x="53482" y="105198"/>
                    <a:pt x="51207" y="120871"/>
                  </a:cubicBezTo>
                  <a:cubicBezTo>
                    <a:pt x="49771" y="130723"/>
                    <a:pt x="52488" y="134229"/>
                    <a:pt x="59536" y="138802"/>
                  </a:cubicBezTo>
                  <a:cubicBezTo>
                    <a:pt x="67589" y="144033"/>
                    <a:pt x="75784" y="144271"/>
                    <a:pt x="80298" y="139270"/>
                  </a:cubicBezTo>
                  <a:cubicBezTo>
                    <a:pt x="82247" y="137110"/>
                    <a:pt x="84270" y="134823"/>
                    <a:pt x="86340" y="132486"/>
                  </a:cubicBezTo>
                  <a:cubicBezTo>
                    <a:pt x="95522" y="122120"/>
                    <a:pt x="105933" y="110367"/>
                    <a:pt x="114960" y="103866"/>
                  </a:cubicBezTo>
                  <a:cubicBezTo>
                    <a:pt x="117126" y="102308"/>
                    <a:pt x="119582" y="103300"/>
                    <a:pt x="120599" y="106026"/>
                  </a:cubicBezTo>
                  <a:cubicBezTo>
                    <a:pt x="131324" y="134806"/>
                    <a:pt x="148895" y="139100"/>
                    <a:pt x="158417" y="139100"/>
                  </a:cubicBezTo>
                  <a:cubicBezTo>
                    <a:pt x="159765" y="139100"/>
                    <a:pt x="161125" y="139015"/>
                    <a:pt x="162462" y="138851"/>
                  </a:cubicBezTo>
                  <a:cubicBezTo>
                    <a:pt x="165936" y="138421"/>
                    <a:pt x="167951" y="135974"/>
                    <a:pt x="167828" y="133948"/>
                  </a:cubicBezTo>
                  <a:cubicBezTo>
                    <a:pt x="167746" y="132633"/>
                    <a:pt x="166772" y="131879"/>
                    <a:pt x="165149" y="131879"/>
                  </a:cubicBezTo>
                  <a:lnTo>
                    <a:pt x="164685" y="131883"/>
                  </a:lnTo>
                  <a:cubicBezTo>
                    <a:pt x="150401" y="131883"/>
                    <a:pt x="147470" y="117668"/>
                    <a:pt x="143409" y="97997"/>
                  </a:cubicBezTo>
                  <a:lnTo>
                    <a:pt x="142988" y="95971"/>
                  </a:lnTo>
                  <a:cubicBezTo>
                    <a:pt x="141618" y="89327"/>
                    <a:pt x="136853" y="84316"/>
                    <a:pt x="129207" y="81475"/>
                  </a:cubicBezTo>
                  <a:cubicBezTo>
                    <a:pt x="127090" y="80691"/>
                    <a:pt x="125196" y="80307"/>
                    <a:pt x="123410" y="80307"/>
                  </a:cubicBezTo>
                  <a:cubicBezTo>
                    <a:pt x="119476" y="80307"/>
                    <a:pt x="116796" y="82231"/>
                    <a:pt x="114202" y="84091"/>
                  </a:cubicBezTo>
                  <a:cubicBezTo>
                    <a:pt x="106864" y="89344"/>
                    <a:pt x="96632" y="99887"/>
                    <a:pt x="88409" y="108361"/>
                  </a:cubicBezTo>
                  <a:cubicBezTo>
                    <a:pt x="80788" y="116212"/>
                    <a:pt x="77065" y="120001"/>
                    <a:pt x="75633" y="120334"/>
                  </a:cubicBezTo>
                  <a:lnTo>
                    <a:pt x="74535" y="120586"/>
                  </a:lnTo>
                  <a:lnTo>
                    <a:pt x="74710" y="119472"/>
                  </a:lnTo>
                  <a:cubicBezTo>
                    <a:pt x="75941" y="111536"/>
                    <a:pt x="80359" y="93306"/>
                    <a:pt x="86951" y="78153"/>
                  </a:cubicBezTo>
                  <a:cubicBezTo>
                    <a:pt x="87830" y="76144"/>
                    <a:pt x="87912" y="74231"/>
                    <a:pt x="87202" y="72457"/>
                  </a:cubicBezTo>
                  <a:cubicBezTo>
                    <a:pt x="86160" y="69867"/>
                    <a:pt x="83443" y="67597"/>
                    <a:pt x="79350" y="65889"/>
                  </a:cubicBezTo>
                  <a:cubicBezTo>
                    <a:pt x="76646" y="64765"/>
                    <a:pt x="74287" y="64197"/>
                    <a:pt x="72336" y="64197"/>
                  </a:cubicBezTo>
                  <a:close/>
                  <a:moveTo>
                    <a:pt x="559596" y="108886"/>
                  </a:moveTo>
                  <a:lnTo>
                    <a:pt x="559669" y="110564"/>
                  </a:lnTo>
                  <a:cubicBezTo>
                    <a:pt x="560479" y="129228"/>
                    <a:pt x="573199" y="138581"/>
                    <a:pt x="579232" y="140188"/>
                  </a:cubicBezTo>
                  <a:cubicBezTo>
                    <a:pt x="582777" y="141137"/>
                    <a:pt x="585738" y="140666"/>
                    <a:pt x="586615" y="139108"/>
                  </a:cubicBezTo>
                  <a:cubicBezTo>
                    <a:pt x="587062" y="138324"/>
                    <a:pt x="586950" y="137285"/>
                    <a:pt x="586300" y="136184"/>
                  </a:cubicBezTo>
                  <a:cubicBezTo>
                    <a:pt x="577878" y="121917"/>
                    <a:pt x="583034" y="95183"/>
                    <a:pt x="583645" y="92178"/>
                  </a:cubicBezTo>
                  <a:cubicBezTo>
                    <a:pt x="585503" y="83128"/>
                    <a:pt x="580764" y="80218"/>
                    <a:pt x="575740" y="77136"/>
                  </a:cubicBezTo>
                  <a:lnTo>
                    <a:pt x="575508" y="76995"/>
                  </a:lnTo>
                  <a:cubicBezTo>
                    <a:pt x="573189" y="75570"/>
                    <a:pt x="570767" y="74786"/>
                    <a:pt x="568687" y="74786"/>
                  </a:cubicBezTo>
                  <a:cubicBezTo>
                    <a:pt x="567156" y="74786"/>
                    <a:pt x="565138" y="75213"/>
                    <a:pt x="564259" y="77255"/>
                  </a:cubicBezTo>
                  <a:cubicBezTo>
                    <a:pt x="557293" y="93450"/>
                    <a:pt x="534883" y="117348"/>
                    <a:pt x="523986" y="117348"/>
                  </a:cubicBezTo>
                  <a:cubicBezTo>
                    <a:pt x="520748" y="117348"/>
                    <a:pt x="518364" y="116171"/>
                    <a:pt x="516890" y="113854"/>
                  </a:cubicBezTo>
                  <a:cubicBezTo>
                    <a:pt x="513205" y="108052"/>
                    <a:pt x="516389" y="96412"/>
                    <a:pt x="520595" y="87450"/>
                  </a:cubicBezTo>
                  <a:cubicBezTo>
                    <a:pt x="523327" y="81629"/>
                    <a:pt x="521861" y="77954"/>
                    <a:pt x="515357" y="74352"/>
                  </a:cubicBezTo>
                  <a:cubicBezTo>
                    <a:pt x="512175" y="72589"/>
                    <a:pt x="509153" y="71654"/>
                    <a:pt x="506617" y="71654"/>
                  </a:cubicBezTo>
                  <a:cubicBezTo>
                    <a:pt x="503377" y="71654"/>
                    <a:pt x="501073" y="73112"/>
                    <a:pt x="499775" y="75993"/>
                  </a:cubicBezTo>
                  <a:cubicBezTo>
                    <a:pt x="497818" y="80324"/>
                    <a:pt x="493908" y="91288"/>
                    <a:pt x="491659" y="104933"/>
                  </a:cubicBezTo>
                  <a:cubicBezTo>
                    <a:pt x="490644" y="111097"/>
                    <a:pt x="492731" y="117606"/>
                    <a:pt x="497539" y="123271"/>
                  </a:cubicBezTo>
                  <a:cubicBezTo>
                    <a:pt x="503224" y="129967"/>
                    <a:pt x="511829" y="134466"/>
                    <a:pt x="518955" y="134466"/>
                  </a:cubicBezTo>
                  <a:cubicBezTo>
                    <a:pt x="528282" y="134466"/>
                    <a:pt x="541180" y="126479"/>
                    <a:pt x="558384" y="110046"/>
                  </a:cubicBezTo>
                  <a:lnTo>
                    <a:pt x="559596" y="108886"/>
                  </a:lnTo>
                  <a:close/>
                  <a:moveTo>
                    <a:pt x="619622" y="71714"/>
                  </a:moveTo>
                  <a:cubicBezTo>
                    <a:pt x="615399" y="71714"/>
                    <a:pt x="612809" y="74701"/>
                    <a:pt x="610961" y="81704"/>
                  </a:cubicBezTo>
                  <a:cubicBezTo>
                    <a:pt x="605863" y="101023"/>
                    <a:pt x="606649" y="118053"/>
                    <a:pt x="613129" y="128427"/>
                  </a:cubicBezTo>
                  <a:cubicBezTo>
                    <a:pt x="616475" y="133784"/>
                    <a:pt x="621095" y="137082"/>
                    <a:pt x="626860" y="138227"/>
                  </a:cubicBezTo>
                  <a:cubicBezTo>
                    <a:pt x="630135" y="138879"/>
                    <a:pt x="632805" y="138365"/>
                    <a:pt x="633695" y="136979"/>
                  </a:cubicBezTo>
                  <a:cubicBezTo>
                    <a:pt x="634230" y="136143"/>
                    <a:pt x="634006" y="135220"/>
                    <a:pt x="633720" y="134594"/>
                  </a:cubicBezTo>
                  <a:cubicBezTo>
                    <a:pt x="628847" y="123863"/>
                    <a:pt x="627439" y="104959"/>
                    <a:pt x="634168" y="89584"/>
                  </a:cubicBezTo>
                  <a:cubicBezTo>
                    <a:pt x="637572" y="81806"/>
                    <a:pt x="635915" y="77604"/>
                    <a:pt x="628037" y="74060"/>
                  </a:cubicBezTo>
                  <a:cubicBezTo>
                    <a:pt x="624530" y="72479"/>
                    <a:pt x="621778" y="71714"/>
                    <a:pt x="619622" y="71714"/>
                  </a:cubicBezTo>
                  <a:close/>
                  <a:moveTo>
                    <a:pt x="972156" y="129924"/>
                  </a:moveTo>
                  <a:cubicBezTo>
                    <a:pt x="967795" y="129924"/>
                    <a:pt x="964015" y="128246"/>
                    <a:pt x="961513" y="125202"/>
                  </a:cubicBezTo>
                  <a:cubicBezTo>
                    <a:pt x="958863" y="121988"/>
                    <a:pt x="957867" y="117532"/>
                    <a:pt x="958762" y="112970"/>
                  </a:cubicBezTo>
                  <a:cubicBezTo>
                    <a:pt x="960317" y="105054"/>
                    <a:pt x="969678" y="95375"/>
                    <a:pt x="978392" y="95375"/>
                  </a:cubicBezTo>
                  <a:cubicBezTo>
                    <a:pt x="982098" y="95375"/>
                    <a:pt x="985342" y="96764"/>
                    <a:pt x="987783" y="99384"/>
                  </a:cubicBezTo>
                  <a:cubicBezTo>
                    <a:pt x="991021" y="102861"/>
                    <a:pt x="992248" y="107799"/>
                    <a:pt x="992026" y="110912"/>
                  </a:cubicBezTo>
                  <a:cubicBezTo>
                    <a:pt x="991280" y="121042"/>
                    <a:pt x="981992" y="129924"/>
                    <a:pt x="972156" y="129924"/>
                  </a:cubicBezTo>
                  <a:close/>
                  <a:moveTo>
                    <a:pt x="197152" y="119748"/>
                  </a:moveTo>
                  <a:cubicBezTo>
                    <a:pt x="195467" y="119748"/>
                    <a:pt x="194547" y="118990"/>
                    <a:pt x="194076" y="118357"/>
                  </a:cubicBezTo>
                  <a:cubicBezTo>
                    <a:pt x="193154" y="117119"/>
                    <a:pt x="193016" y="115204"/>
                    <a:pt x="193685" y="112955"/>
                  </a:cubicBezTo>
                  <a:cubicBezTo>
                    <a:pt x="195811" y="105849"/>
                    <a:pt x="211250" y="82968"/>
                    <a:pt x="218480" y="82968"/>
                  </a:cubicBezTo>
                  <a:cubicBezTo>
                    <a:pt x="220456" y="82968"/>
                    <a:pt x="222316" y="84061"/>
                    <a:pt x="223584" y="85962"/>
                  </a:cubicBezTo>
                  <a:cubicBezTo>
                    <a:pt x="225405" y="88690"/>
                    <a:pt x="225668" y="92465"/>
                    <a:pt x="224273" y="95822"/>
                  </a:cubicBezTo>
                  <a:cubicBezTo>
                    <a:pt x="219774" y="106659"/>
                    <a:pt x="206673" y="119748"/>
                    <a:pt x="197152" y="119748"/>
                  </a:cubicBezTo>
                  <a:close/>
                  <a:moveTo>
                    <a:pt x="1363738" y="108089"/>
                  </a:moveTo>
                  <a:lnTo>
                    <a:pt x="1363649" y="107292"/>
                  </a:lnTo>
                  <a:cubicBezTo>
                    <a:pt x="1362554" y="97103"/>
                    <a:pt x="1369838" y="90850"/>
                    <a:pt x="1377013" y="88389"/>
                  </a:cubicBezTo>
                  <a:cubicBezTo>
                    <a:pt x="1378182" y="87990"/>
                    <a:pt x="1379381" y="87789"/>
                    <a:pt x="1380586" y="87789"/>
                  </a:cubicBezTo>
                  <a:cubicBezTo>
                    <a:pt x="1383763" y="87789"/>
                    <a:pt x="1386426" y="89180"/>
                    <a:pt x="1387537" y="91416"/>
                  </a:cubicBezTo>
                  <a:cubicBezTo>
                    <a:pt x="1388563" y="93480"/>
                    <a:pt x="1388103" y="95969"/>
                    <a:pt x="1386241" y="98420"/>
                  </a:cubicBezTo>
                  <a:cubicBezTo>
                    <a:pt x="1381731" y="104365"/>
                    <a:pt x="1370704" y="106950"/>
                    <a:pt x="1364526" y="107961"/>
                  </a:cubicBezTo>
                  <a:lnTo>
                    <a:pt x="1363738" y="108089"/>
                  </a:lnTo>
                  <a:close/>
                  <a:moveTo>
                    <a:pt x="304292" y="99125"/>
                  </a:moveTo>
                  <a:lnTo>
                    <a:pt x="304627" y="97563"/>
                  </a:lnTo>
                  <a:cubicBezTo>
                    <a:pt x="306871" y="87072"/>
                    <a:pt x="312319" y="78920"/>
                    <a:pt x="319961" y="74613"/>
                  </a:cubicBezTo>
                  <a:cubicBezTo>
                    <a:pt x="321112" y="73963"/>
                    <a:pt x="322443" y="73621"/>
                    <a:pt x="323812" y="73621"/>
                  </a:cubicBezTo>
                  <a:cubicBezTo>
                    <a:pt x="326562" y="73621"/>
                    <a:pt x="328947" y="74997"/>
                    <a:pt x="329750" y="77047"/>
                  </a:cubicBezTo>
                  <a:cubicBezTo>
                    <a:pt x="330284" y="78410"/>
                    <a:pt x="330564" y="81257"/>
                    <a:pt x="326480" y="85028"/>
                  </a:cubicBezTo>
                  <a:cubicBezTo>
                    <a:pt x="321836" y="89322"/>
                    <a:pt x="315047" y="93694"/>
                    <a:pt x="305716" y="98405"/>
                  </a:cubicBezTo>
                  <a:lnTo>
                    <a:pt x="304292" y="99125"/>
                  </a:lnTo>
                  <a:close/>
                  <a:moveTo>
                    <a:pt x="1261641" y="19896"/>
                  </a:moveTo>
                  <a:cubicBezTo>
                    <a:pt x="1259349" y="19896"/>
                    <a:pt x="1257520" y="20507"/>
                    <a:pt x="1256744" y="21537"/>
                  </a:cubicBezTo>
                  <a:cubicBezTo>
                    <a:pt x="1255219" y="23546"/>
                    <a:pt x="1256068" y="26313"/>
                    <a:pt x="1257043" y="28283"/>
                  </a:cubicBezTo>
                  <a:cubicBezTo>
                    <a:pt x="1260695" y="35618"/>
                    <a:pt x="1271361" y="43377"/>
                    <a:pt x="1277789" y="43377"/>
                  </a:cubicBezTo>
                  <a:cubicBezTo>
                    <a:pt x="1279656" y="43377"/>
                    <a:pt x="1281064" y="42727"/>
                    <a:pt x="1281971" y="41444"/>
                  </a:cubicBezTo>
                  <a:cubicBezTo>
                    <a:pt x="1283855" y="38794"/>
                    <a:pt x="1281749" y="30298"/>
                    <a:pt x="1275811" y="25605"/>
                  </a:cubicBezTo>
                  <a:cubicBezTo>
                    <a:pt x="1271212" y="21976"/>
                    <a:pt x="1266047" y="19896"/>
                    <a:pt x="1261641" y="19896"/>
                  </a:cubicBezTo>
                  <a:close/>
                  <a:moveTo>
                    <a:pt x="625925" y="19326"/>
                  </a:moveTo>
                  <a:cubicBezTo>
                    <a:pt x="624262" y="19326"/>
                    <a:pt x="622977" y="19896"/>
                    <a:pt x="622106" y="21021"/>
                  </a:cubicBezTo>
                  <a:cubicBezTo>
                    <a:pt x="620484" y="23123"/>
                    <a:pt x="620357" y="25605"/>
                    <a:pt x="621730" y="28400"/>
                  </a:cubicBezTo>
                  <a:cubicBezTo>
                    <a:pt x="624789" y="34618"/>
                    <a:pt x="634734" y="40722"/>
                    <a:pt x="641816" y="40722"/>
                  </a:cubicBezTo>
                  <a:cubicBezTo>
                    <a:pt x="644300" y="40722"/>
                    <a:pt x="646149" y="39977"/>
                    <a:pt x="647305" y="38517"/>
                  </a:cubicBezTo>
                  <a:cubicBezTo>
                    <a:pt x="648065" y="37560"/>
                    <a:pt x="647398" y="35804"/>
                    <a:pt x="646929" y="34841"/>
                  </a:cubicBezTo>
                  <a:cubicBezTo>
                    <a:pt x="643797" y="28352"/>
                    <a:pt x="632621" y="19326"/>
                    <a:pt x="625925" y="19326"/>
                  </a:cubicBezTo>
                  <a:close/>
                </a:path>
              </a:pathLst>
            </a:custGeom>
            <a:solidFill>
              <a:schemeClr val="tx1"/>
            </a:solidFill>
            <a:ln w="2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799"/>
            </a:p>
          </p:txBody>
        </p:sp>
        <p:grpSp>
          <p:nvGrpSpPr>
            <p:cNvPr id="9" name="Graphic 77">
              <a:extLst>
                <a:ext uri="{FF2B5EF4-FFF2-40B4-BE49-F238E27FC236}">
                  <a16:creationId xmlns:a16="http://schemas.microsoft.com/office/drawing/2014/main" id="{D9DFD5BA-844F-42A9-8B2B-61062B83F732}"/>
                </a:ext>
              </a:extLst>
            </p:cNvPr>
            <p:cNvGrpSpPr/>
            <p:nvPr/>
          </p:nvGrpSpPr>
          <p:grpSpPr>
            <a:xfrm>
              <a:off x="9781403" y="552320"/>
              <a:ext cx="1481839" cy="234163"/>
              <a:chOff x="9781403" y="552320"/>
              <a:chExt cx="1481839" cy="234163"/>
            </a:xfrm>
            <a:solidFill>
              <a:schemeClr val="tx1"/>
            </a:solidFill>
          </p:grpSpPr>
          <p:sp>
            <p:nvSpPr>
              <p:cNvPr id="10" name="Freihandform: Form 9">
                <a:extLst>
                  <a:ext uri="{FF2B5EF4-FFF2-40B4-BE49-F238E27FC236}">
                    <a16:creationId xmlns:a16="http://schemas.microsoft.com/office/drawing/2014/main" id="{9F6D9AAE-5739-4AE5-B5E7-2AC2FC90E167}"/>
                  </a:ext>
                </a:extLst>
              </p:cNvPr>
              <p:cNvSpPr/>
              <p:nvPr/>
            </p:nvSpPr>
            <p:spPr>
              <a:xfrm>
                <a:off x="9781403" y="552320"/>
                <a:ext cx="173430" cy="234163"/>
              </a:xfrm>
              <a:custGeom>
                <a:avLst/>
                <a:gdLst>
                  <a:gd name="connsiteX0" fmla="*/ 4575 w 173430"/>
                  <a:gd name="connsiteY0" fmla="*/ 225949 h 234163"/>
                  <a:gd name="connsiteX1" fmla="*/ 4575 w 173430"/>
                  <a:gd name="connsiteY1" fmla="*/ 181380 h 234163"/>
                  <a:gd name="connsiteX2" fmla="*/ 71915 w 173430"/>
                  <a:gd name="connsiteY2" fmla="*/ 193357 h 234163"/>
                  <a:gd name="connsiteX3" fmla="*/ 112357 w 173430"/>
                  <a:gd name="connsiteY3" fmla="*/ 171988 h 234163"/>
                  <a:gd name="connsiteX4" fmla="*/ 106462 w 173430"/>
                  <a:gd name="connsiteY4" fmla="*/ 158604 h 234163"/>
                  <a:gd name="connsiteX5" fmla="*/ 75587 w 173430"/>
                  <a:gd name="connsiteY5" fmla="*/ 142653 h 234163"/>
                  <a:gd name="connsiteX6" fmla="*/ 17513 w 173430"/>
                  <a:gd name="connsiteY6" fmla="*/ 111415 h 234163"/>
                  <a:gd name="connsiteX7" fmla="*/ 0 w 173430"/>
                  <a:gd name="connsiteY7" fmla="*/ 68377 h 234163"/>
                  <a:gd name="connsiteX8" fmla="*/ 25505 w 173430"/>
                  <a:gd name="connsiteY8" fmla="*/ 17371 h 234163"/>
                  <a:gd name="connsiteX9" fmla="*/ 91212 w 173430"/>
                  <a:gd name="connsiteY9" fmla="*/ 0 h 234163"/>
                  <a:gd name="connsiteX10" fmla="*/ 155796 w 173430"/>
                  <a:gd name="connsiteY10" fmla="*/ 8223 h 234163"/>
                  <a:gd name="connsiteX11" fmla="*/ 155796 w 173430"/>
                  <a:gd name="connsiteY11" fmla="*/ 51097 h 234163"/>
                  <a:gd name="connsiteX12" fmla="*/ 97407 w 173430"/>
                  <a:gd name="connsiteY12" fmla="*/ 38547 h 234163"/>
                  <a:gd name="connsiteX13" fmla="*/ 59441 w 173430"/>
                  <a:gd name="connsiteY13" fmla="*/ 59428 h 234163"/>
                  <a:gd name="connsiteX14" fmla="*/ 67094 w 173430"/>
                  <a:gd name="connsiteY14" fmla="*/ 72174 h 234163"/>
                  <a:gd name="connsiteX15" fmla="*/ 102162 w 173430"/>
                  <a:gd name="connsiteY15" fmla="*/ 89076 h 234163"/>
                  <a:gd name="connsiteX16" fmla="*/ 157164 w 173430"/>
                  <a:gd name="connsiteY16" fmla="*/ 120979 h 234163"/>
                  <a:gd name="connsiteX17" fmla="*/ 173431 w 173430"/>
                  <a:gd name="connsiteY17" fmla="*/ 162596 h 234163"/>
                  <a:gd name="connsiteX18" fmla="*/ 141540 w 173430"/>
                  <a:gd name="connsiteY18" fmla="*/ 218551 h 234163"/>
                  <a:gd name="connsiteX19" fmla="*/ 74563 w 173430"/>
                  <a:gd name="connsiteY19" fmla="*/ 234163 h 234163"/>
                  <a:gd name="connsiteX20" fmla="*/ 4575 w 173430"/>
                  <a:gd name="connsiteY20" fmla="*/ 225949 h 234163"/>
                  <a:gd name="connsiteX21" fmla="*/ 4575 w 173430"/>
                  <a:gd name="connsiteY21" fmla="*/ 225949 h 23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3430" h="234163">
                    <a:moveTo>
                      <a:pt x="4575" y="225949"/>
                    </a:moveTo>
                    <a:lnTo>
                      <a:pt x="4575" y="181380"/>
                    </a:lnTo>
                    <a:cubicBezTo>
                      <a:pt x="29942" y="189363"/>
                      <a:pt x="52389" y="193357"/>
                      <a:pt x="71915" y="193357"/>
                    </a:cubicBezTo>
                    <a:cubicBezTo>
                      <a:pt x="98874" y="193357"/>
                      <a:pt x="112357" y="186231"/>
                      <a:pt x="112357" y="171988"/>
                    </a:cubicBezTo>
                    <a:cubicBezTo>
                      <a:pt x="112357" y="166679"/>
                      <a:pt x="110395" y="162218"/>
                      <a:pt x="106462" y="158604"/>
                    </a:cubicBezTo>
                    <a:cubicBezTo>
                      <a:pt x="102440" y="154773"/>
                      <a:pt x="92141" y="149459"/>
                      <a:pt x="75587" y="142653"/>
                    </a:cubicBezTo>
                    <a:cubicBezTo>
                      <a:pt x="45887" y="130442"/>
                      <a:pt x="26523" y="120027"/>
                      <a:pt x="17513" y="111415"/>
                    </a:cubicBezTo>
                    <a:cubicBezTo>
                      <a:pt x="5838" y="100045"/>
                      <a:pt x="0" y="85704"/>
                      <a:pt x="0" y="68377"/>
                    </a:cubicBezTo>
                    <a:cubicBezTo>
                      <a:pt x="0" y="46064"/>
                      <a:pt x="8506" y="29056"/>
                      <a:pt x="25505" y="17371"/>
                    </a:cubicBezTo>
                    <a:cubicBezTo>
                      <a:pt x="42317" y="5784"/>
                      <a:pt x="64208" y="0"/>
                      <a:pt x="91212" y="0"/>
                    </a:cubicBezTo>
                    <a:cubicBezTo>
                      <a:pt x="106091" y="0"/>
                      <a:pt x="127626" y="2739"/>
                      <a:pt x="155796" y="8223"/>
                    </a:cubicBezTo>
                    <a:lnTo>
                      <a:pt x="155796" y="51097"/>
                    </a:lnTo>
                    <a:cubicBezTo>
                      <a:pt x="134838" y="42725"/>
                      <a:pt x="115383" y="38547"/>
                      <a:pt x="97407" y="38547"/>
                    </a:cubicBezTo>
                    <a:cubicBezTo>
                      <a:pt x="72096" y="38547"/>
                      <a:pt x="59441" y="45498"/>
                      <a:pt x="59441" y="59428"/>
                    </a:cubicBezTo>
                    <a:cubicBezTo>
                      <a:pt x="59441" y="64636"/>
                      <a:pt x="61990" y="68882"/>
                      <a:pt x="67094" y="72174"/>
                    </a:cubicBezTo>
                    <a:cubicBezTo>
                      <a:pt x="71338" y="74838"/>
                      <a:pt x="83037" y="80466"/>
                      <a:pt x="102162" y="89076"/>
                    </a:cubicBezTo>
                    <a:cubicBezTo>
                      <a:pt x="129699" y="101306"/>
                      <a:pt x="148029" y="111936"/>
                      <a:pt x="157164" y="120979"/>
                    </a:cubicBezTo>
                    <a:cubicBezTo>
                      <a:pt x="168003" y="131706"/>
                      <a:pt x="173431" y="145584"/>
                      <a:pt x="173431" y="162596"/>
                    </a:cubicBezTo>
                    <a:cubicBezTo>
                      <a:pt x="173431" y="187047"/>
                      <a:pt x="162797" y="205701"/>
                      <a:pt x="141540" y="218551"/>
                    </a:cubicBezTo>
                    <a:cubicBezTo>
                      <a:pt x="124321" y="228973"/>
                      <a:pt x="101989" y="234163"/>
                      <a:pt x="74563" y="234163"/>
                    </a:cubicBezTo>
                    <a:cubicBezTo>
                      <a:pt x="51406" y="234159"/>
                      <a:pt x="28071" y="231433"/>
                      <a:pt x="4575" y="225949"/>
                    </a:cubicBezTo>
                    <a:lnTo>
                      <a:pt x="4575" y="22594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11" name="Freihandform: Form 10">
                <a:extLst>
                  <a:ext uri="{FF2B5EF4-FFF2-40B4-BE49-F238E27FC236}">
                    <a16:creationId xmlns:a16="http://schemas.microsoft.com/office/drawing/2014/main" id="{8BF36585-7699-4ADF-826E-E96C9FF43BE1}"/>
                  </a:ext>
                </a:extLst>
              </p:cNvPr>
              <p:cNvSpPr/>
              <p:nvPr/>
            </p:nvSpPr>
            <p:spPr>
              <a:xfrm>
                <a:off x="9990437" y="556241"/>
                <a:ext cx="63037" cy="225678"/>
              </a:xfrm>
              <a:custGeom>
                <a:avLst/>
                <a:gdLst>
                  <a:gd name="connsiteX0" fmla="*/ 0 w 63037"/>
                  <a:gd name="connsiteY0" fmla="*/ 0 h 225678"/>
                  <a:gd name="connsiteX1" fmla="*/ 0 w 63037"/>
                  <a:gd name="connsiteY1" fmla="*/ 0 h 225678"/>
                  <a:gd name="connsiteX2" fmla="*/ 63037 w 63037"/>
                  <a:gd name="connsiteY2" fmla="*/ 0 h 225678"/>
                  <a:gd name="connsiteX3" fmla="*/ 63037 w 63037"/>
                  <a:gd name="connsiteY3" fmla="*/ 225679 h 225678"/>
                  <a:gd name="connsiteX4" fmla="*/ 0 w 63037"/>
                  <a:gd name="connsiteY4" fmla="*/ 225679 h 225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037" h="225678">
                    <a:moveTo>
                      <a:pt x="0" y="0"/>
                    </a:moveTo>
                    <a:lnTo>
                      <a:pt x="0" y="0"/>
                    </a:lnTo>
                    <a:lnTo>
                      <a:pt x="63037" y="0"/>
                    </a:lnTo>
                    <a:lnTo>
                      <a:pt x="63037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12" name="Freihandform: Form 11">
                <a:extLst>
                  <a:ext uri="{FF2B5EF4-FFF2-40B4-BE49-F238E27FC236}">
                    <a16:creationId xmlns:a16="http://schemas.microsoft.com/office/drawing/2014/main" id="{EADB1B5B-7C6B-4C3D-88B6-6A0EF42A0E3A}"/>
                  </a:ext>
                </a:extLst>
              </p:cNvPr>
              <p:cNvSpPr/>
              <p:nvPr/>
            </p:nvSpPr>
            <p:spPr>
              <a:xfrm>
                <a:off x="10111287" y="556241"/>
                <a:ext cx="164274" cy="225678"/>
              </a:xfrm>
              <a:custGeom>
                <a:avLst/>
                <a:gdLst>
                  <a:gd name="connsiteX0" fmla="*/ 0 w 164274"/>
                  <a:gd name="connsiteY0" fmla="*/ 225679 h 225678"/>
                  <a:gd name="connsiteX1" fmla="*/ 0 w 164274"/>
                  <a:gd name="connsiteY1" fmla="*/ 0 h 225678"/>
                  <a:gd name="connsiteX2" fmla="*/ 161674 w 164274"/>
                  <a:gd name="connsiteY2" fmla="*/ 0 h 225678"/>
                  <a:gd name="connsiteX3" fmla="*/ 161674 w 164274"/>
                  <a:gd name="connsiteY3" fmla="*/ 40820 h 225678"/>
                  <a:gd name="connsiteX4" fmla="*/ 60754 w 164274"/>
                  <a:gd name="connsiteY4" fmla="*/ 40820 h 225678"/>
                  <a:gd name="connsiteX5" fmla="*/ 60754 w 164274"/>
                  <a:gd name="connsiteY5" fmla="*/ 91778 h 225678"/>
                  <a:gd name="connsiteX6" fmla="*/ 148602 w 164274"/>
                  <a:gd name="connsiteY6" fmla="*/ 91778 h 225678"/>
                  <a:gd name="connsiteX7" fmla="*/ 148602 w 164274"/>
                  <a:gd name="connsiteY7" fmla="*/ 129010 h 225678"/>
                  <a:gd name="connsiteX8" fmla="*/ 60754 w 164274"/>
                  <a:gd name="connsiteY8" fmla="*/ 129010 h 225678"/>
                  <a:gd name="connsiteX9" fmla="*/ 60754 w 164274"/>
                  <a:gd name="connsiteY9" fmla="*/ 182568 h 225678"/>
                  <a:gd name="connsiteX10" fmla="*/ 164274 w 164274"/>
                  <a:gd name="connsiteY10" fmla="*/ 182568 h 225678"/>
                  <a:gd name="connsiteX11" fmla="*/ 164274 w 164274"/>
                  <a:gd name="connsiteY11" fmla="*/ 225679 h 225678"/>
                  <a:gd name="connsiteX12" fmla="*/ 0 w 164274"/>
                  <a:gd name="connsiteY12" fmla="*/ 225679 h 225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4274" h="225678">
                    <a:moveTo>
                      <a:pt x="0" y="225679"/>
                    </a:moveTo>
                    <a:lnTo>
                      <a:pt x="0" y="0"/>
                    </a:lnTo>
                    <a:lnTo>
                      <a:pt x="161674" y="0"/>
                    </a:lnTo>
                    <a:lnTo>
                      <a:pt x="161674" y="40820"/>
                    </a:lnTo>
                    <a:lnTo>
                      <a:pt x="60754" y="40820"/>
                    </a:lnTo>
                    <a:lnTo>
                      <a:pt x="60754" y="91778"/>
                    </a:lnTo>
                    <a:lnTo>
                      <a:pt x="148602" y="91778"/>
                    </a:lnTo>
                    <a:lnTo>
                      <a:pt x="148602" y="129010"/>
                    </a:lnTo>
                    <a:lnTo>
                      <a:pt x="60754" y="129010"/>
                    </a:lnTo>
                    <a:lnTo>
                      <a:pt x="60754" y="182568"/>
                    </a:lnTo>
                    <a:lnTo>
                      <a:pt x="164274" y="182568"/>
                    </a:lnTo>
                    <a:lnTo>
                      <a:pt x="164274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13" name="Freihandform: Form 12">
                <a:extLst>
                  <a:ext uri="{FF2B5EF4-FFF2-40B4-BE49-F238E27FC236}">
                    <a16:creationId xmlns:a16="http://schemas.microsoft.com/office/drawing/2014/main" id="{181DC5C3-0E03-4263-828D-CA2305D7F806}"/>
                  </a:ext>
                </a:extLst>
              </p:cNvPr>
              <p:cNvSpPr/>
              <p:nvPr/>
            </p:nvSpPr>
            <p:spPr>
              <a:xfrm>
                <a:off x="10316714" y="556241"/>
                <a:ext cx="274352" cy="227970"/>
              </a:xfrm>
              <a:custGeom>
                <a:avLst/>
                <a:gdLst>
                  <a:gd name="connsiteX0" fmla="*/ 0 w 274352"/>
                  <a:gd name="connsiteY0" fmla="*/ 225679 h 227970"/>
                  <a:gd name="connsiteX1" fmla="*/ 0 w 274352"/>
                  <a:gd name="connsiteY1" fmla="*/ 0 h 227970"/>
                  <a:gd name="connsiteX2" fmla="*/ 81732 w 274352"/>
                  <a:gd name="connsiteY2" fmla="*/ 0 h 227970"/>
                  <a:gd name="connsiteX3" fmla="*/ 138514 w 274352"/>
                  <a:gd name="connsiteY3" fmla="*/ 144199 h 227970"/>
                  <a:gd name="connsiteX4" fmla="*/ 196720 w 274352"/>
                  <a:gd name="connsiteY4" fmla="*/ 0 h 227970"/>
                  <a:gd name="connsiteX5" fmla="*/ 274352 w 274352"/>
                  <a:gd name="connsiteY5" fmla="*/ 0 h 227970"/>
                  <a:gd name="connsiteX6" fmla="*/ 274352 w 274352"/>
                  <a:gd name="connsiteY6" fmla="*/ 225679 h 227970"/>
                  <a:gd name="connsiteX7" fmla="*/ 214583 w 274352"/>
                  <a:gd name="connsiteY7" fmla="*/ 225679 h 227970"/>
                  <a:gd name="connsiteX8" fmla="*/ 214583 w 274352"/>
                  <a:gd name="connsiteY8" fmla="*/ 65893 h 227970"/>
                  <a:gd name="connsiteX9" fmla="*/ 148401 w 274352"/>
                  <a:gd name="connsiteY9" fmla="*/ 227971 h 227970"/>
                  <a:gd name="connsiteX10" fmla="*/ 109324 w 274352"/>
                  <a:gd name="connsiteY10" fmla="*/ 227971 h 227970"/>
                  <a:gd name="connsiteX11" fmla="*/ 44414 w 274352"/>
                  <a:gd name="connsiteY11" fmla="*/ 65893 h 227970"/>
                  <a:gd name="connsiteX12" fmla="*/ 44414 w 274352"/>
                  <a:gd name="connsiteY12" fmla="*/ 225679 h 227970"/>
                  <a:gd name="connsiteX13" fmla="*/ 0 w 274352"/>
                  <a:gd name="connsiteY13" fmla="*/ 225679 h 227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4352" h="227970">
                    <a:moveTo>
                      <a:pt x="0" y="225679"/>
                    </a:moveTo>
                    <a:lnTo>
                      <a:pt x="0" y="0"/>
                    </a:lnTo>
                    <a:lnTo>
                      <a:pt x="81732" y="0"/>
                    </a:lnTo>
                    <a:lnTo>
                      <a:pt x="138514" y="144199"/>
                    </a:lnTo>
                    <a:lnTo>
                      <a:pt x="196720" y="0"/>
                    </a:lnTo>
                    <a:lnTo>
                      <a:pt x="274352" y="0"/>
                    </a:lnTo>
                    <a:lnTo>
                      <a:pt x="274352" y="225679"/>
                    </a:lnTo>
                    <a:lnTo>
                      <a:pt x="214583" y="225679"/>
                    </a:lnTo>
                    <a:lnTo>
                      <a:pt x="214583" y="65893"/>
                    </a:lnTo>
                    <a:lnTo>
                      <a:pt x="148401" y="227971"/>
                    </a:lnTo>
                    <a:lnTo>
                      <a:pt x="109324" y="227971"/>
                    </a:lnTo>
                    <a:lnTo>
                      <a:pt x="44414" y="65893"/>
                    </a:lnTo>
                    <a:lnTo>
                      <a:pt x="44414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886D08AD-26A5-40AE-AC5E-6262942E531C}"/>
                  </a:ext>
                </a:extLst>
              </p:cNvPr>
              <p:cNvSpPr/>
              <p:nvPr/>
            </p:nvSpPr>
            <p:spPr>
              <a:xfrm>
                <a:off x="10648889" y="556241"/>
                <a:ext cx="164291" cy="225678"/>
              </a:xfrm>
              <a:custGeom>
                <a:avLst/>
                <a:gdLst>
                  <a:gd name="connsiteX0" fmla="*/ 0 w 164291"/>
                  <a:gd name="connsiteY0" fmla="*/ 225679 h 225678"/>
                  <a:gd name="connsiteX1" fmla="*/ 0 w 164291"/>
                  <a:gd name="connsiteY1" fmla="*/ 0 h 225678"/>
                  <a:gd name="connsiteX2" fmla="*/ 161674 w 164291"/>
                  <a:gd name="connsiteY2" fmla="*/ 0 h 225678"/>
                  <a:gd name="connsiteX3" fmla="*/ 161674 w 164291"/>
                  <a:gd name="connsiteY3" fmla="*/ 40820 h 225678"/>
                  <a:gd name="connsiteX4" fmla="*/ 60761 w 164291"/>
                  <a:gd name="connsiteY4" fmla="*/ 40820 h 225678"/>
                  <a:gd name="connsiteX5" fmla="*/ 60761 w 164291"/>
                  <a:gd name="connsiteY5" fmla="*/ 91778 h 225678"/>
                  <a:gd name="connsiteX6" fmla="*/ 148606 w 164291"/>
                  <a:gd name="connsiteY6" fmla="*/ 91778 h 225678"/>
                  <a:gd name="connsiteX7" fmla="*/ 148606 w 164291"/>
                  <a:gd name="connsiteY7" fmla="*/ 129010 h 225678"/>
                  <a:gd name="connsiteX8" fmla="*/ 60761 w 164291"/>
                  <a:gd name="connsiteY8" fmla="*/ 129010 h 225678"/>
                  <a:gd name="connsiteX9" fmla="*/ 60761 w 164291"/>
                  <a:gd name="connsiteY9" fmla="*/ 182568 h 225678"/>
                  <a:gd name="connsiteX10" fmla="*/ 164292 w 164291"/>
                  <a:gd name="connsiteY10" fmla="*/ 182568 h 225678"/>
                  <a:gd name="connsiteX11" fmla="*/ 164292 w 164291"/>
                  <a:gd name="connsiteY11" fmla="*/ 225679 h 225678"/>
                  <a:gd name="connsiteX12" fmla="*/ 0 w 164291"/>
                  <a:gd name="connsiteY12" fmla="*/ 225679 h 225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4291" h="225678">
                    <a:moveTo>
                      <a:pt x="0" y="225679"/>
                    </a:moveTo>
                    <a:lnTo>
                      <a:pt x="0" y="0"/>
                    </a:lnTo>
                    <a:lnTo>
                      <a:pt x="161674" y="0"/>
                    </a:lnTo>
                    <a:lnTo>
                      <a:pt x="161674" y="40820"/>
                    </a:lnTo>
                    <a:lnTo>
                      <a:pt x="60761" y="40820"/>
                    </a:lnTo>
                    <a:lnTo>
                      <a:pt x="60761" y="91778"/>
                    </a:lnTo>
                    <a:lnTo>
                      <a:pt x="148606" y="91778"/>
                    </a:lnTo>
                    <a:lnTo>
                      <a:pt x="148606" y="129010"/>
                    </a:lnTo>
                    <a:lnTo>
                      <a:pt x="60761" y="129010"/>
                    </a:lnTo>
                    <a:lnTo>
                      <a:pt x="60761" y="182568"/>
                    </a:lnTo>
                    <a:lnTo>
                      <a:pt x="164292" y="182568"/>
                    </a:lnTo>
                    <a:lnTo>
                      <a:pt x="164292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E8B53784-0C76-41E3-B77B-5B05DB6877B6}"/>
                  </a:ext>
                </a:extLst>
              </p:cNvPr>
              <p:cNvSpPr/>
              <p:nvPr/>
            </p:nvSpPr>
            <p:spPr>
              <a:xfrm>
                <a:off x="10854660" y="556241"/>
                <a:ext cx="194974" cy="225678"/>
              </a:xfrm>
              <a:custGeom>
                <a:avLst/>
                <a:gdLst>
                  <a:gd name="connsiteX0" fmla="*/ 0 w 194974"/>
                  <a:gd name="connsiteY0" fmla="*/ 225679 h 225678"/>
                  <a:gd name="connsiteX1" fmla="*/ 0 w 194974"/>
                  <a:gd name="connsiteY1" fmla="*/ 0 h 225678"/>
                  <a:gd name="connsiteX2" fmla="*/ 73060 w 194974"/>
                  <a:gd name="connsiteY2" fmla="*/ 0 h 225678"/>
                  <a:gd name="connsiteX3" fmla="*/ 150572 w 194974"/>
                  <a:gd name="connsiteY3" fmla="*/ 151075 h 225678"/>
                  <a:gd name="connsiteX4" fmla="*/ 150572 w 194974"/>
                  <a:gd name="connsiteY4" fmla="*/ 0 h 225678"/>
                  <a:gd name="connsiteX5" fmla="*/ 194975 w 194974"/>
                  <a:gd name="connsiteY5" fmla="*/ 0 h 225678"/>
                  <a:gd name="connsiteX6" fmla="*/ 194975 w 194974"/>
                  <a:gd name="connsiteY6" fmla="*/ 225679 h 225678"/>
                  <a:gd name="connsiteX7" fmla="*/ 123988 w 194974"/>
                  <a:gd name="connsiteY7" fmla="*/ 225679 h 225678"/>
                  <a:gd name="connsiteX8" fmla="*/ 44418 w 194974"/>
                  <a:gd name="connsiteY8" fmla="*/ 72572 h 225678"/>
                  <a:gd name="connsiteX9" fmla="*/ 44418 w 194974"/>
                  <a:gd name="connsiteY9" fmla="*/ 225679 h 225678"/>
                  <a:gd name="connsiteX10" fmla="*/ 0 w 194974"/>
                  <a:gd name="connsiteY10" fmla="*/ 225679 h 225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4974" h="225678">
                    <a:moveTo>
                      <a:pt x="0" y="225679"/>
                    </a:moveTo>
                    <a:lnTo>
                      <a:pt x="0" y="0"/>
                    </a:lnTo>
                    <a:lnTo>
                      <a:pt x="73060" y="0"/>
                    </a:lnTo>
                    <a:lnTo>
                      <a:pt x="150572" y="151075"/>
                    </a:lnTo>
                    <a:lnTo>
                      <a:pt x="150572" y="0"/>
                    </a:lnTo>
                    <a:lnTo>
                      <a:pt x="194975" y="0"/>
                    </a:lnTo>
                    <a:lnTo>
                      <a:pt x="194975" y="225679"/>
                    </a:lnTo>
                    <a:lnTo>
                      <a:pt x="123988" y="225679"/>
                    </a:lnTo>
                    <a:lnTo>
                      <a:pt x="44418" y="72572"/>
                    </a:lnTo>
                    <a:lnTo>
                      <a:pt x="44418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16" name="Freihandform: Form 15">
                <a:extLst>
                  <a:ext uri="{FF2B5EF4-FFF2-40B4-BE49-F238E27FC236}">
                    <a16:creationId xmlns:a16="http://schemas.microsoft.com/office/drawing/2014/main" id="{535515CF-5C05-492B-BBE7-789C65C61869}"/>
                  </a:ext>
                </a:extLst>
              </p:cNvPr>
              <p:cNvSpPr/>
              <p:nvPr/>
            </p:nvSpPr>
            <p:spPr>
              <a:xfrm>
                <a:off x="11089830" y="552320"/>
                <a:ext cx="173413" cy="234163"/>
              </a:xfrm>
              <a:custGeom>
                <a:avLst/>
                <a:gdLst>
                  <a:gd name="connsiteX0" fmla="*/ 4555 w 173413"/>
                  <a:gd name="connsiteY0" fmla="*/ 225949 h 234163"/>
                  <a:gd name="connsiteX1" fmla="*/ 4555 w 173413"/>
                  <a:gd name="connsiteY1" fmla="*/ 181380 h 234163"/>
                  <a:gd name="connsiteX2" fmla="*/ 71909 w 173413"/>
                  <a:gd name="connsiteY2" fmla="*/ 193357 h 234163"/>
                  <a:gd name="connsiteX3" fmla="*/ 112337 w 173413"/>
                  <a:gd name="connsiteY3" fmla="*/ 171988 h 234163"/>
                  <a:gd name="connsiteX4" fmla="*/ 106622 w 173413"/>
                  <a:gd name="connsiteY4" fmla="*/ 158604 h 234163"/>
                  <a:gd name="connsiteX5" fmla="*/ 75585 w 173413"/>
                  <a:gd name="connsiteY5" fmla="*/ 142653 h 234163"/>
                  <a:gd name="connsiteX6" fmla="*/ 17496 w 173413"/>
                  <a:gd name="connsiteY6" fmla="*/ 111415 h 234163"/>
                  <a:gd name="connsiteX7" fmla="*/ 0 w 173413"/>
                  <a:gd name="connsiteY7" fmla="*/ 68226 h 234163"/>
                  <a:gd name="connsiteX8" fmla="*/ 25503 w 173413"/>
                  <a:gd name="connsiteY8" fmla="*/ 17371 h 234163"/>
                  <a:gd name="connsiteX9" fmla="*/ 91217 w 173413"/>
                  <a:gd name="connsiteY9" fmla="*/ 0 h 234163"/>
                  <a:gd name="connsiteX10" fmla="*/ 150206 w 173413"/>
                  <a:gd name="connsiteY10" fmla="*/ 7255 h 234163"/>
                  <a:gd name="connsiteX11" fmla="*/ 155781 w 173413"/>
                  <a:gd name="connsiteY11" fmla="*/ 8223 h 234163"/>
                  <a:gd name="connsiteX12" fmla="*/ 155781 w 173413"/>
                  <a:gd name="connsiteY12" fmla="*/ 51097 h 234163"/>
                  <a:gd name="connsiteX13" fmla="*/ 97237 w 173413"/>
                  <a:gd name="connsiteY13" fmla="*/ 38547 h 234163"/>
                  <a:gd name="connsiteX14" fmla="*/ 59443 w 173413"/>
                  <a:gd name="connsiteY14" fmla="*/ 59428 h 234163"/>
                  <a:gd name="connsiteX15" fmla="*/ 67070 w 173413"/>
                  <a:gd name="connsiteY15" fmla="*/ 72174 h 234163"/>
                  <a:gd name="connsiteX16" fmla="*/ 102304 w 173413"/>
                  <a:gd name="connsiteY16" fmla="*/ 89076 h 234163"/>
                  <a:gd name="connsiteX17" fmla="*/ 157140 w 173413"/>
                  <a:gd name="connsiteY17" fmla="*/ 120979 h 234163"/>
                  <a:gd name="connsiteX18" fmla="*/ 173414 w 173413"/>
                  <a:gd name="connsiteY18" fmla="*/ 162596 h 234163"/>
                  <a:gd name="connsiteX19" fmla="*/ 141690 w 173413"/>
                  <a:gd name="connsiteY19" fmla="*/ 218551 h 234163"/>
                  <a:gd name="connsiteX20" fmla="*/ 74561 w 173413"/>
                  <a:gd name="connsiteY20" fmla="*/ 234163 h 234163"/>
                  <a:gd name="connsiteX21" fmla="*/ 4555 w 173413"/>
                  <a:gd name="connsiteY21" fmla="*/ 225949 h 234163"/>
                  <a:gd name="connsiteX22" fmla="*/ 4555 w 173413"/>
                  <a:gd name="connsiteY22" fmla="*/ 225949 h 23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3413" h="234163">
                    <a:moveTo>
                      <a:pt x="4555" y="225949"/>
                    </a:moveTo>
                    <a:lnTo>
                      <a:pt x="4555" y="181380"/>
                    </a:lnTo>
                    <a:cubicBezTo>
                      <a:pt x="29709" y="189363"/>
                      <a:pt x="52151" y="193357"/>
                      <a:pt x="71909" y="193357"/>
                    </a:cubicBezTo>
                    <a:cubicBezTo>
                      <a:pt x="98868" y="193357"/>
                      <a:pt x="112337" y="186231"/>
                      <a:pt x="112337" y="171988"/>
                    </a:cubicBezTo>
                    <a:cubicBezTo>
                      <a:pt x="112337" y="166679"/>
                      <a:pt x="110426" y="162218"/>
                      <a:pt x="106622" y="158604"/>
                    </a:cubicBezTo>
                    <a:cubicBezTo>
                      <a:pt x="102581" y="154773"/>
                      <a:pt x="92238" y="149459"/>
                      <a:pt x="75585" y="142653"/>
                    </a:cubicBezTo>
                    <a:cubicBezTo>
                      <a:pt x="45976" y="130544"/>
                      <a:pt x="26590" y="120133"/>
                      <a:pt x="17496" y="111415"/>
                    </a:cubicBezTo>
                    <a:cubicBezTo>
                      <a:pt x="5828" y="100146"/>
                      <a:pt x="0" y="85754"/>
                      <a:pt x="0" y="68226"/>
                    </a:cubicBezTo>
                    <a:cubicBezTo>
                      <a:pt x="0" y="46008"/>
                      <a:pt x="8485" y="29058"/>
                      <a:pt x="25503" y="17371"/>
                    </a:cubicBezTo>
                    <a:cubicBezTo>
                      <a:pt x="42288" y="5784"/>
                      <a:pt x="64206" y="0"/>
                      <a:pt x="91217" y="0"/>
                    </a:cubicBezTo>
                    <a:cubicBezTo>
                      <a:pt x="106397" y="0"/>
                      <a:pt x="126075" y="2411"/>
                      <a:pt x="150206" y="7255"/>
                    </a:cubicBezTo>
                    <a:lnTo>
                      <a:pt x="155781" y="8223"/>
                    </a:lnTo>
                    <a:lnTo>
                      <a:pt x="155781" y="51097"/>
                    </a:lnTo>
                    <a:cubicBezTo>
                      <a:pt x="134819" y="42725"/>
                      <a:pt x="115307" y="38547"/>
                      <a:pt x="97237" y="38547"/>
                    </a:cubicBezTo>
                    <a:cubicBezTo>
                      <a:pt x="72019" y="38547"/>
                      <a:pt x="59443" y="45498"/>
                      <a:pt x="59443" y="59428"/>
                    </a:cubicBezTo>
                    <a:cubicBezTo>
                      <a:pt x="59443" y="64636"/>
                      <a:pt x="61981" y="68882"/>
                      <a:pt x="67070" y="72174"/>
                    </a:cubicBezTo>
                    <a:cubicBezTo>
                      <a:pt x="71118" y="74738"/>
                      <a:pt x="82862" y="80367"/>
                      <a:pt x="102304" y="89076"/>
                    </a:cubicBezTo>
                    <a:cubicBezTo>
                      <a:pt x="129635" y="101306"/>
                      <a:pt x="147928" y="111936"/>
                      <a:pt x="157140" y="120979"/>
                    </a:cubicBezTo>
                    <a:cubicBezTo>
                      <a:pt x="167996" y="131706"/>
                      <a:pt x="173414" y="145584"/>
                      <a:pt x="173414" y="162596"/>
                    </a:cubicBezTo>
                    <a:cubicBezTo>
                      <a:pt x="173414" y="187047"/>
                      <a:pt x="162838" y="205701"/>
                      <a:pt x="141690" y="218551"/>
                    </a:cubicBezTo>
                    <a:cubicBezTo>
                      <a:pt x="124366" y="228973"/>
                      <a:pt x="101982" y="234163"/>
                      <a:pt x="74561" y="234163"/>
                    </a:cubicBezTo>
                    <a:cubicBezTo>
                      <a:pt x="51378" y="234159"/>
                      <a:pt x="28035" y="231433"/>
                      <a:pt x="4555" y="225949"/>
                    </a:cubicBezTo>
                    <a:lnTo>
                      <a:pt x="4555" y="22594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3075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1"/>
            <a:ext cx="1219200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D33C8399-CB68-4235-8C9E-1352C4DEE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grpSp>
        <p:nvGrpSpPr>
          <p:cNvPr id="28" name="Gruppieren 3">
            <a:extLst>
              <a:ext uri="{FF2B5EF4-FFF2-40B4-BE49-F238E27FC236}">
                <a16:creationId xmlns:a16="http://schemas.microsoft.com/office/drawing/2014/main" id="{A6AA8E8F-CDF0-4110-A551-12759198F3E0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29" name="Gerade Verbindung 2">
              <a:extLst>
                <a:ext uri="{FF2B5EF4-FFF2-40B4-BE49-F238E27FC236}">
                  <a16:creationId xmlns:a16="http://schemas.microsoft.com/office/drawing/2014/main" id="{C068BE9D-EE20-4264-B38E-F23F67D3AAAD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35">
              <a:extLst>
                <a:ext uri="{FF2B5EF4-FFF2-40B4-BE49-F238E27FC236}">
                  <a16:creationId xmlns:a16="http://schemas.microsoft.com/office/drawing/2014/main" id="{DC9184F1-3583-4CF4-8094-9BEDEDEE6776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6">
              <a:extLst>
                <a:ext uri="{FF2B5EF4-FFF2-40B4-BE49-F238E27FC236}">
                  <a16:creationId xmlns:a16="http://schemas.microsoft.com/office/drawing/2014/main" id="{D26C9733-8EDB-4463-9AE7-35E5EADCFBA3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7">
              <a:extLst>
                <a:ext uri="{FF2B5EF4-FFF2-40B4-BE49-F238E27FC236}">
                  <a16:creationId xmlns:a16="http://schemas.microsoft.com/office/drawing/2014/main" id="{279B7E17-F52E-473F-A245-D71E166D0B69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8">
              <a:extLst>
                <a:ext uri="{FF2B5EF4-FFF2-40B4-BE49-F238E27FC236}">
                  <a16:creationId xmlns:a16="http://schemas.microsoft.com/office/drawing/2014/main" id="{477CEC3C-4399-4DF4-8CA6-6B8BEE48ED17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9">
              <a:extLst>
                <a:ext uri="{FF2B5EF4-FFF2-40B4-BE49-F238E27FC236}">
                  <a16:creationId xmlns:a16="http://schemas.microsoft.com/office/drawing/2014/main" id="{E3DCC7A6-E039-41C8-9B37-2114234B935D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41">
              <a:extLst>
                <a:ext uri="{FF2B5EF4-FFF2-40B4-BE49-F238E27FC236}">
                  <a16:creationId xmlns:a16="http://schemas.microsoft.com/office/drawing/2014/main" id="{08FFC3D8-C252-4020-B4BA-8ACF72D189BB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42">
              <a:extLst>
                <a:ext uri="{FF2B5EF4-FFF2-40B4-BE49-F238E27FC236}">
                  <a16:creationId xmlns:a16="http://schemas.microsoft.com/office/drawing/2014/main" id="{1B562B50-25C9-4C81-AEEA-BED88C67D434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43">
              <a:extLst>
                <a:ext uri="{FF2B5EF4-FFF2-40B4-BE49-F238E27FC236}">
                  <a16:creationId xmlns:a16="http://schemas.microsoft.com/office/drawing/2014/main" id="{FE34D7E9-4AEA-4C00-82BA-6415360FC498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4">
              <a:extLst>
                <a:ext uri="{FF2B5EF4-FFF2-40B4-BE49-F238E27FC236}">
                  <a16:creationId xmlns:a16="http://schemas.microsoft.com/office/drawing/2014/main" id="{BCA6780A-07B3-493A-81CA-DFF6D2F5E946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51">
              <a:extLst>
                <a:ext uri="{FF2B5EF4-FFF2-40B4-BE49-F238E27FC236}">
                  <a16:creationId xmlns:a16="http://schemas.microsoft.com/office/drawing/2014/main" id="{C31A6DB9-A3B4-4A2F-AD7D-8FFC13156A37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52">
              <a:extLst>
                <a:ext uri="{FF2B5EF4-FFF2-40B4-BE49-F238E27FC236}">
                  <a16:creationId xmlns:a16="http://schemas.microsoft.com/office/drawing/2014/main" id="{63FDB3E5-FF77-4EB5-8037-3F7AFB704D5B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53">
              <a:extLst>
                <a:ext uri="{FF2B5EF4-FFF2-40B4-BE49-F238E27FC236}">
                  <a16:creationId xmlns:a16="http://schemas.microsoft.com/office/drawing/2014/main" id="{774649F4-E945-498E-9775-CEDC54A017ED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4">
              <a:extLst>
                <a:ext uri="{FF2B5EF4-FFF2-40B4-BE49-F238E27FC236}">
                  <a16:creationId xmlns:a16="http://schemas.microsoft.com/office/drawing/2014/main" id="{1DE6414A-5C48-4B67-BA13-773B5ED0E470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5">
              <a:extLst>
                <a:ext uri="{FF2B5EF4-FFF2-40B4-BE49-F238E27FC236}">
                  <a16:creationId xmlns:a16="http://schemas.microsoft.com/office/drawing/2014/main" id="{132691B5-B10A-461A-A3A1-2D7FD8EB56B4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6">
              <a:extLst>
                <a:ext uri="{FF2B5EF4-FFF2-40B4-BE49-F238E27FC236}">
                  <a16:creationId xmlns:a16="http://schemas.microsoft.com/office/drawing/2014/main" id="{AAA0F0FA-73A2-4320-92A8-576C98BC6683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58">
              <a:extLst>
                <a:ext uri="{FF2B5EF4-FFF2-40B4-BE49-F238E27FC236}">
                  <a16:creationId xmlns:a16="http://schemas.microsoft.com/office/drawing/2014/main" id="{454AC142-60E7-4B49-8544-3FD32166CB0F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9">
              <a:extLst>
                <a:ext uri="{FF2B5EF4-FFF2-40B4-BE49-F238E27FC236}">
                  <a16:creationId xmlns:a16="http://schemas.microsoft.com/office/drawing/2014/main" id="{0058B5FA-FD6A-4707-937B-9B07998F85B7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0">
              <a:extLst>
                <a:ext uri="{FF2B5EF4-FFF2-40B4-BE49-F238E27FC236}">
                  <a16:creationId xmlns:a16="http://schemas.microsoft.com/office/drawing/2014/main" id="{D5F24475-F7D0-41F1-A73E-621653292C2D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1">
              <a:extLst>
                <a:ext uri="{FF2B5EF4-FFF2-40B4-BE49-F238E27FC236}">
                  <a16:creationId xmlns:a16="http://schemas.microsoft.com/office/drawing/2014/main" id="{1485FF9C-383C-4769-B5BF-7C4EA1889099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5" name="cdtText Box 133 Id16">
            <a:extLst>
              <a:ext uri="{FF2B5EF4-FFF2-40B4-BE49-F238E27FC236}">
                <a16:creationId xmlns:a16="http://schemas.microsoft.com/office/drawing/2014/main" id="{86560E54-848F-4EC5-B271-8D40CE40394C}"/>
              </a:ext>
            </a:extLst>
          </p:cNvPr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0" y="6166801"/>
            <a:ext cx="12192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074" tIns="143925" rIns="3209528" bIns="0" anchor="ctr"/>
          <a:lstStyle/>
          <a:p>
            <a:r>
              <a:rPr lang="en-US" sz="999" b="1" noProof="0" dirty="0">
                <a:solidFill>
                  <a:schemeClr val="tx1"/>
                </a:solidFill>
              </a:rPr>
              <a:t>Unrestricted © Siemens Mobility 2020</a:t>
            </a:r>
          </a:p>
        </p:txBody>
      </p:sp>
      <p:sp>
        <p:nvSpPr>
          <p:cNvPr id="26" name="cdtTextBox 12 Id17">
            <a:extLst>
              <a:ext uri="{FF2B5EF4-FFF2-40B4-BE49-F238E27FC236}">
                <a16:creationId xmlns:a16="http://schemas.microsoft.com/office/drawing/2014/main" id="{0D9B994F-FD70-4F3E-9D67-D68612BF17C7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0" y="6562800"/>
            <a:ext cx="3930183" cy="29520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chemeClr val="tx1"/>
                </a:solidFill>
              </a:rPr>
              <a:t>June 2020</a:t>
            </a:r>
          </a:p>
        </p:txBody>
      </p:sp>
      <p:sp>
        <p:nvSpPr>
          <p:cNvPr id="35" name="cdtTextBox 11 Id18">
            <a:extLst>
              <a:ext uri="{FF2B5EF4-FFF2-40B4-BE49-F238E27FC236}">
                <a16:creationId xmlns:a16="http://schemas.microsoft.com/office/drawing/2014/main" id="{94112832-0C7B-4DE5-8CC5-614172752E5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1" y="6562800"/>
            <a:ext cx="1764366" cy="29520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chemeClr val="tx1"/>
                </a:solidFill>
              </a:rPr>
              <a:t>Page </a:t>
            </a:r>
            <a:fld id="{91E7552C-A157-4A4F-8E99-698C0325FC94}" type="slidenum">
              <a:rPr lang="en-US" sz="999" noProof="0" smtClean="0">
                <a:solidFill>
                  <a:schemeClr val="tx1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999" noProof="0" dirty="0">
              <a:solidFill>
                <a:schemeClr val="tx1"/>
              </a:solidFill>
            </a:endParaRPr>
          </a:p>
        </p:txBody>
      </p:sp>
      <p:sp>
        <p:nvSpPr>
          <p:cNvPr id="46" name="cdtTextBox 13 Id19">
            <a:extLst>
              <a:ext uri="{FF2B5EF4-FFF2-40B4-BE49-F238E27FC236}">
                <a16:creationId xmlns:a16="http://schemas.microsoft.com/office/drawing/2014/main" id="{E7BEECA0-A927-4775-9319-F29721ECF051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785793" y="6562800"/>
            <a:ext cx="8406206" cy="29520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en-US" altLang="de-DE" sz="999" dirty="0">
                <a:solidFill>
                  <a:schemeClr val="tx1"/>
                </a:solidFill>
                <a:cs typeface="Arial" panose="020B0604020202020204" pitchFamily="34" charset="0"/>
              </a:rPr>
              <a:t>Siemens Mobility</a:t>
            </a:r>
          </a:p>
        </p:txBody>
      </p: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D948047F-498F-49EC-A015-60FD7724EE13}"/>
              </a:ext>
            </a:extLst>
          </p:cNvPr>
          <p:cNvGrpSpPr/>
          <p:nvPr userDrawn="1"/>
        </p:nvGrpSpPr>
        <p:grpSpPr>
          <a:xfrm>
            <a:off x="9776312" y="552320"/>
            <a:ext cx="1750413" cy="587608"/>
            <a:chOff x="9781403" y="552320"/>
            <a:chExt cx="1751325" cy="587608"/>
          </a:xfrm>
        </p:grpSpPr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B11F9BBC-C65F-420F-8F24-6538014C37FF}"/>
                </a:ext>
              </a:extLst>
            </p:cNvPr>
            <p:cNvSpPr/>
            <p:nvPr/>
          </p:nvSpPr>
          <p:spPr>
            <a:xfrm>
              <a:off x="10090283" y="886507"/>
              <a:ext cx="1442445" cy="253421"/>
            </a:xfrm>
            <a:custGeom>
              <a:avLst/>
              <a:gdLst>
                <a:gd name="connsiteX0" fmla="*/ 216732 w 1442445"/>
                <a:gd name="connsiteY0" fmla="*/ 122424 h 253421"/>
                <a:gd name="connsiteX1" fmla="*/ 216847 w 1442445"/>
                <a:gd name="connsiteY1" fmla="*/ 124360 h 253421"/>
                <a:gd name="connsiteX2" fmla="*/ 217558 w 1442445"/>
                <a:gd name="connsiteY2" fmla="*/ 141852 h 253421"/>
                <a:gd name="connsiteX3" fmla="*/ 217564 w 1442445"/>
                <a:gd name="connsiteY3" fmla="*/ 142268 h 253421"/>
                <a:gd name="connsiteX4" fmla="*/ 217218 w 1442445"/>
                <a:gd name="connsiteY4" fmla="*/ 142499 h 253421"/>
                <a:gd name="connsiteX5" fmla="*/ 167502 w 1442445"/>
                <a:gd name="connsiteY5" fmla="*/ 200338 h 253421"/>
                <a:gd name="connsiteX6" fmla="*/ 170016 w 1442445"/>
                <a:gd name="connsiteY6" fmla="*/ 242905 h 253421"/>
                <a:gd name="connsiteX7" fmla="*/ 191320 w 1442445"/>
                <a:gd name="connsiteY7" fmla="*/ 253422 h 253421"/>
                <a:gd name="connsiteX8" fmla="*/ 227720 w 1442445"/>
                <a:gd name="connsiteY8" fmla="*/ 218333 h 253421"/>
                <a:gd name="connsiteX9" fmla="*/ 240333 w 1442445"/>
                <a:gd name="connsiteY9" fmla="*/ 142128 h 253421"/>
                <a:gd name="connsiteX10" fmla="*/ 240352 w 1442445"/>
                <a:gd name="connsiteY10" fmla="*/ 141722 h 253421"/>
                <a:gd name="connsiteX11" fmla="*/ 240698 w 1442445"/>
                <a:gd name="connsiteY11" fmla="*/ 141506 h 253421"/>
                <a:gd name="connsiteX12" fmla="*/ 280599 w 1442445"/>
                <a:gd name="connsiteY12" fmla="*/ 120863 h 253421"/>
                <a:gd name="connsiteX13" fmla="*/ 281180 w 1442445"/>
                <a:gd name="connsiteY13" fmla="*/ 120601 h 253421"/>
                <a:gd name="connsiteX14" fmla="*/ 281539 w 1442445"/>
                <a:gd name="connsiteY14" fmla="*/ 121131 h 253421"/>
                <a:gd name="connsiteX15" fmla="*/ 320438 w 1442445"/>
                <a:gd name="connsiteY15" fmla="*/ 141394 h 253421"/>
                <a:gd name="connsiteX16" fmla="*/ 368211 w 1442445"/>
                <a:gd name="connsiteY16" fmla="*/ 118919 h 253421"/>
                <a:gd name="connsiteX17" fmla="*/ 369209 w 1442445"/>
                <a:gd name="connsiteY17" fmla="*/ 118029 h 253421"/>
                <a:gd name="connsiteX18" fmla="*/ 369466 w 1442445"/>
                <a:gd name="connsiteY18" fmla="*/ 119340 h 253421"/>
                <a:gd name="connsiteX19" fmla="*/ 380216 w 1442445"/>
                <a:gd name="connsiteY19" fmla="*/ 134019 h 253421"/>
                <a:gd name="connsiteX20" fmla="*/ 403847 w 1442445"/>
                <a:gd name="connsiteY20" fmla="*/ 134233 h 253421"/>
                <a:gd name="connsiteX21" fmla="*/ 414871 w 1442445"/>
                <a:gd name="connsiteY21" fmla="*/ 122062 h 253421"/>
                <a:gd name="connsiteX22" fmla="*/ 431782 w 1442445"/>
                <a:gd name="connsiteY22" fmla="*/ 105667 h 253421"/>
                <a:gd name="connsiteX23" fmla="*/ 439953 w 1442445"/>
                <a:gd name="connsiteY23" fmla="*/ 107827 h 253421"/>
                <a:gd name="connsiteX24" fmla="*/ 480494 w 1442445"/>
                <a:gd name="connsiteY24" fmla="*/ 141400 h 253421"/>
                <a:gd name="connsiteX25" fmla="*/ 488800 w 1442445"/>
                <a:gd name="connsiteY25" fmla="*/ 138519 h 253421"/>
                <a:gd name="connsiteX26" fmla="*/ 485843 w 1442445"/>
                <a:gd name="connsiteY26" fmla="*/ 134261 h 253421"/>
                <a:gd name="connsiteX27" fmla="*/ 461754 w 1442445"/>
                <a:gd name="connsiteY27" fmla="*/ 99211 h 253421"/>
                <a:gd name="connsiteX28" fmla="*/ 445219 w 1442445"/>
                <a:gd name="connsiteY28" fmla="*/ 85020 h 253421"/>
                <a:gd name="connsiteX29" fmla="*/ 439539 w 1442445"/>
                <a:gd name="connsiteY29" fmla="*/ 83821 h 253421"/>
                <a:gd name="connsiteX30" fmla="*/ 430775 w 1442445"/>
                <a:gd name="connsiteY30" fmla="*/ 87277 h 253421"/>
                <a:gd name="connsiteX31" fmla="*/ 430112 w 1442445"/>
                <a:gd name="connsiteY31" fmla="*/ 87722 h 253421"/>
                <a:gd name="connsiteX32" fmla="*/ 406933 w 1442445"/>
                <a:gd name="connsiteY32" fmla="*/ 109028 h 253421"/>
                <a:gd name="connsiteX33" fmla="*/ 399667 w 1442445"/>
                <a:gd name="connsiteY33" fmla="*/ 116307 h 253421"/>
                <a:gd name="connsiteX34" fmla="*/ 393358 w 1442445"/>
                <a:gd name="connsiteY34" fmla="*/ 117975 h 253421"/>
                <a:gd name="connsiteX35" fmla="*/ 392278 w 1442445"/>
                <a:gd name="connsiteY35" fmla="*/ 113823 h 253421"/>
                <a:gd name="connsiteX36" fmla="*/ 401577 w 1442445"/>
                <a:gd name="connsiteY36" fmla="*/ 80248 h 253421"/>
                <a:gd name="connsiteX37" fmla="*/ 401994 w 1442445"/>
                <a:gd name="connsiteY37" fmla="*/ 74079 h 253421"/>
                <a:gd name="connsiteX38" fmla="*/ 394001 w 1442445"/>
                <a:gd name="connsiteY38" fmla="*/ 68021 h 253421"/>
                <a:gd name="connsiteX39" fmla="*/ 387204 w 1442445"/>
                <a:gd name="connsiteY39" fmla="*/ 66636 h 253421"/>
                <a:gd name="connsiteX40" fmla="*/ 377914 w 1442445"/>
                <a:gd name="connsiteY40" fmla="*/ 74652 h 253421"/>
                <a:gd name="connsiteX41" fmla="*/ 370637 w 1442445"/>
                <a:gd name="connsiteY41" fmla="*/ 101051 h 253421"/>
                <a:gd name="connsiteX42" fmla="*/ 370594 w 1442445"/>
                <a:gd name="connsiteY42" fmla="*/ 101297 h 253421"/>
                <a:gd name="connsiteX43" fmla="*/ 370414 w 1442445"/>
                <a:gd name="connsiteY43" fmla="*/ 101466 h 253421"/>
                <a:gd name="connsiteX44" fmla="*/ 322704 w 1442445"/>
                <a:gd name="connsiteY44" fmla="*/ 128215 h 253421"/>
                <a:gd name="connsiteX45" fmla="*/ 303845 w 1442445"/>
                <a:gd name="connsiteY45" fmla="*/ 111415 h 253421"/>
                <a:gd name="connsiteX46" fmla="*/ 303772 w 1442445"/>
                <a:gd name="connsiteY46" fmla="*/ 110851 h 253421"/>
                <a:gd name="connsiteX47" fmla="*/ 304288 w 1442445"/>
                <a:gd name="connsiteY47" fmla="*/ 110618 h 253421"/>
                <a:gd name="connsiteX48" fmla="*/ 341019 w 1442445"/>
                <a:gd name="connsiteY48" fmla="*/ 87903 h 253421"/>
                <a:gd name="connsiteX49" fmla="*/ 343455 w 1442445"/>
                <a:gd name="connsiteY49" fmla="*/ 72390 h 253421"/>
                <a:gd name="connsiteX50" fmla="*/ 323836 w 1442445"/>
                <a:gd name="connsiteY50" fmla="*/ 60316 h 253421"/>
                <a:gd name="connsiteX51" fmla="*/ 277673 w 1442445"/>
                <a:gd name="connsiteY51" fmla="*/ 110434 h 253421"/>
                <a:gd name="connsiteX52" fmla="*/ 277668 w 1442445"/>
                <a:gd name="connsiteY52" fmla="*/ 110931 h 253421"/>
                <a:gd name="connsiteX53" fmla="*/ 277215 w 1442445"/>
                <a:gd name="connsiteY53" fmla="*/ 111132 h 253421"/>
                <a:gd name="connsiteX54" fmla="*/ 242475 w 1442445"/>
                <a:gd name="connsiteY54" fmla="*/ 127585 h 253421"/>
                <a:gd name="connsiteX55" fmla="*/ 241192 w 1442445"/>
                <a:gd name="connsiteY55" fmla="*/ 128261 h 253421"/>
                <a:gd name="connsiteX56" fmla="*/ 241367 w 1442445"/>
                <a:gd name="connsiteY56" fmla="*/ 126822 h 253421"/>
                <a:gd name="connsiteX57" fmla="*/ 251156 w 1442445"/>
                <a:gd name="connsiteY57" fmla="*/ 88646 h 253421"/>
                <a:gd name="connsiteX58" fmla="*/ 252545 w 1442445"/>
                <a:gd name="connsiteY58" fmla="*/ 80952 h 253421"/>
                <a:gd name="connsiteX59" fmla="*/ 245959 w 1442445"/>
                <a:gd name="connsiteY59" fmla="*/ 75751 h 253421"/>
                <a:gd name="connsiteX60" fmla="*/ 232207 w 1442445"/>
                <a:gd name="connsiteY60" fmla="*/ 77129 h 253421"/>
                <a:gd name="connsiteX61" fmla="*/ 231531 w 1442445"/>
                <a:gd name="connsiteY61" fmla="*/ 77702 h 253421"/>
                <a:gd name="connsiteX62" fmla="*/ 231066 w 1442445"/>
                <a:gd name="connsiteY62" fmla="*/ 76946 h 253421"/>
                <a:gd name="connsiteX63" fmla="*/ 217225 w 1442445"/>
                <a:gd name="connsiteY63" fmla="*/ 69740 h 253421"/>
                <a:gd name="connsiteX64" fmla="*/ 168001 w 1442445"/>
                <a:gd name="connsiteY64" fmla="*/ 115549 h 253421"/>
                <a:gd name="connsiteX65" fmla="*/ 171245 w 1442445"/>
                <a:gd name="connsiteY65" fmla="*/ 125403 h 253421"/>
                <a:gd name="connsiteX66" fmla="*/ 194938 w 1442445"/>
                <a:gd name="connsiteY66" fmla="*/ 135359 h 253421"/>
                <a:gd name="connsiteX67" fmla="*/ 215506 w 1442445"/>
                <a:gd name="connsiteY67" fmla="*/ 123913 h 253421"/>
                <a:gd name="connsiteX68" fmla="*/ 216732 w 1442445"/>
                <a:gd name="connsiteY68" fmla="*/ 122424 h 253421"/>
                <a:gd name="connsiteX69" fmla="*/ 749451 w 1442445"/>
                <a:gd name="connsiteY69" fmla="*/ 123146 h 253421"/>
                <a:gd name="connsiteX70" fmla="*/ 748933 w 1442445"/>
                <a:gd name="connsiteY70" fmla="*/ 124260 h 253421"/>
                <a:gd name="connsiteX71" fmla="*/ 736446 w 1442445"/>
                <a:gd name="connsiteY71" fmla="*/ 153168 h 253421"/>
                <a:gd name="connsiteX72" fmla="*/ 686023 w 1442445"/>
                <a:gd name="connsiteY72" fmla="*/ 247447 h 253421"/>
                <a:gd name="connsiteX73" fmla="*/ 685027 w 1442445"/>
                <a:gd name="connsiteY73" fmla="*/ 251361 h 253421"/>
                <a:gd name="connsiteX74" fmla="*/ 688418 w 1442445"/>
                <a:gd name="connsiteY74" fmla="*/ 252925 h 253421"/>
                <a:gd name="connsiteX75" fmla="*/ 694067 w 1442445"/>
                <a:gd name="connsiteY75" fmla="*/ 251061 h 253421"/>
                <a:gd name="connsiteX76" fmla="*/ 759452 w 1442445"/>
                <a:gd name="connsiteY76" fmla="*/ 152915 h 253421"/>
                <a:gd name="connsiteX77" fmla="*/ 800006 w 1442445"/>
                <a:gd name="connsiteY77" fmla="*/ 90631 h 253421"/>
                <a:gd name="connsiteX78" fmla="*/ 803445 w 1442445"/>
                <a:gd name="connsiteY78" fmla="*/ 86925 h 253421"/>
                <a:gd name="connsiteX79" fmla="*/ 805155 w 1442445"/>
                <a:gd name="connsiteY79" fmla="*/ 82210 h 253421"/>
                <a:gd name="connsiteX80" fmla="*/ 796347 w 1442445"/>
                <a:gd name="connsiteY80" fmla="*/ 75753 h 253421"/>
                <a:gd name="connsiteX81" fmla="*/ 780168 w 1442445"/>
                <a:gd name="connsiteY81" fmla="*/ 78576 h 253421"/>
                <a:gd name="connsiteX82" fmla="*/ 779708 w 1442445"/>
                <a:gd name="connsiteY82" fmla="*/ 79103 h 253421"/>
                <a:gd name="connsiteX83" fmla="*/ 742943 w 1442445"/>
                <a:gd name="connsiteY83" fmla="*/ 110644 h 253421"/>
                <a:gd name="connsiteX84" fmla="*/ 738295 w 1442445"/>
                <a:gd name="connsiteY84" fmla="*/ 108708 h 253421"/>
                <a:gd name="connsiteX85" fmla="*/ 735919 w 1442445"/>
                <a:gd name="connsiteY85" fmla="*/ 89947 h 253421"/>
                <a:gd name="connsiteX86" fmla="*/ 736135 w 1442445"/>
                <a:gd name="connsiteY86" fmla="*/ 87022 h 253421"/>
                <a:gd name="connsiteX87" fmla="*/ 725821 w 1442445"/>
                <a:gd name="connsiteY87" fmla="*/ 77486 h 253421"/>
                <a:gd name="connsiteX88" fmla="*/ 686174 w 1442445"/>
                <a:gd name="connsiteY88" fmla="*/ 74501 h 253421"/>
                <a:gd name="connsiteX89" fmla="*/ 685297 w 1442445"/>
                <a:gd name="connsiteY89" fmla="*/ 74457 h 253421"/>
                <a:gd name="connsiteX90" fmla="*/ 685461 w 1442445"/>
                <a:gd name="connsiteY90" fmla="*/ 73598 h 253421"/>
                <a:gd name="connsiteX91" fmla="*/ 702421 w 1442445"/>
                <a:gd name="connsiteY91" fmla="*/ 20138 h 253421"/>
                <a:gd name="connsiteX92" fmla="*/ 705463 w 1442445"/>
                <a:gd name="connsiteY92" fmla="*/ 11228 h 253421"/>
                <a:gd name="connsiteX93" fmla="*/ 697406 w 1442445"/>
                <a:gd name="connsiteY93" fmla="*/ 6882 h 253421"/>
                <a:gd name="connsiteX94" fmla="*/ 692086 w 1442445"/>
                <a:gd name="connsiteY94" fmla="*/ 6143 h 253421"/>
                <a:gd name="connsiteX95" fmla="*/ 680433 w 1442445"/>
                <a:gd name="connsiteY95" fmla="*/ 15766 h 253421"/>
                <a:gd name="connsiteX96" fmla="*/ 664742 w 1442445"/>
                <a:gd name="connsiteY96" fmla="*/ 72980 h 253421"/>
                <a:gd name="connsiteX97" fmla="*/ 664641 w 1442445"/>
                <a:gd name="connsiteY97" fmla="*/ 73643 h 253421"/>
                <a:gd name="connsiteX98" fmla="*/ 663969 w 1442445"/>
                <a:gd name="connsiteY98" fmla="*/ 73630 h 253421"/>
                <a:gd name="connsiteX99" fmla="*/ 654532 w 1442445"/>
                <a:gd name="connsiteY99" fmla="*/ 73513 h 253421"/>
                <a:gd name="connsiteX100" fmla="*/ 649640 w 1442445"/>
                <a:gd name="connsiteY100" fmla="*/ 75073 h 253421"/>
                <a:gd name="connsiteX101" fmla="*/ 650059 w 1442445"/>
                <a:gd name="connsiteY101" fmla="*/ 79626 h 253421"/>
                <a:gd name="connsiteX102" fmla="*/ 662090 w 1442445"/>
                <a:gd name="connsiteY102" fmla="*/ 90556 h 253421"/>
                <a:gd name="connsiteX103" fmla="*/ 662686 w 1442445"/>
                <a:gd name="connsiteY103" fmla="*/ 90722 h 253421"/>
                <a:gd name="connsiteX104" fmla="*/ 662641 w 1442445"/>
                <a:gd name="connsiteY104" fmla="*/ 91344 h 253421"/>
                <a:gd name="connsiteX105" fmla="*/ 662135 w 1442445"/>
                <a:gd name="connsiteY105" fmla="*/ 104175 h 253421"/>
                <a:gd name="connsiteX106" fmla="*/ 680614 w 1442445"/>
                <a:gd name="connsiteY106" fmla="*/ 140450 h 253421"/>
                <a:gd name="connsiteX107" fmla="*/ 682221 w 1442445"/>
                <a:gd name="connsiteY107" fmla="*/ 140592 h 253421"/>
                <a:gd name="connsiteX108" fmla="*/ 686664 w 1442445"/>
                <a:gd name="connsiteY108" fmla="*/ 138959 h 253421"/>
                <a:gd name="connsiteX109" fmla="*/ 686256 w 1442445"/>
                <a:gd name="connsiteY109" fmla="*/ 136032 h 253421"/>
                <a:gd name="connsiteX110" fmla="*/ 682914 w 1442445"/>
                <a:gd name="connsiteY110" fmla="*/ 89880 h 253421"/>
                <a:gd name="connsiteX111" fmla="*/ 682981 w 1442445"/>
                <a:gd name="connsiteY111" fmla="*/ 89303 h 253421"/>
                <a:gd name="connsiteX112" fmla="*/ 683554 w 1442445"/>
                <a:gd name="connsiteY112" fmla="*/ 89217 h 253421"/>
                <a:gd name="connsiteX113" fmla="*/ 708705 w 1442445"/>
                <a:gd name="connsiteY113" fmla="*/ 86525 h 253421"/>
                <a:gd name="connsiteX114" fmla="*/ 708917 w 1442445"/>
                <a:gd name="connsiteY114" fmla="*/ 86525 h 253421"/>
                <a:gd name="connsiteX115" fmla="*/ 712368 w 1442445"/>
                <a:gd name="connsiteY115" fmla="*/ 87655 h 253421"/>
                <a:gd name="connsiteX116" fmla="*/ 713263 w 1442445"/>
                <a:gd name="connsiteY116" fmla="*/ 91480 h 253421"/>
                <a:gd name="connsiteX117" fmla="*/ 720689 w 1442445"/>
                <a:gd name="connsiteY117" fmla="*/ 113953 h 253421"/>
                <a:gd name="connsiteX118" fmla="*/ 748229 w 1442445"/>
                <a:gd name="connsiteY118" fmla="*/ 123167 h 253421"/>
                <a:gd name="connsiteX119" fmla="*/ 749451 w 1442445"/>
                <a:gd name="connsiteY119" fmla="*/ 123146 h 253421"/>
                <a:gd name="connsiteX120" fmla="*/ 188868 w 1442445"/>
                <a:gd name="connsiteY120" fmla="*/ 243354 h 253421"/>
                <a:gd name="connsiteX121" fmla="*/ 181762 w 1442445"/>
                <a:gd name="connsiteY121" fmla="*/ 239572 h 253421"/>
                <a:gd name="connsiteX122" fmla="*/ 184557 w 1442445"/>
                <a:gd name="connsiteY122" fmla="*/ 201910 h 253421"/>
                <a:gd name="connsiteX123" fmla="*/ 216242 w 1442445"/>
                <a:gd name="connsiteY123" fmla="*/ 159015 h 253421"/>
                <a:gd name="connsiteX124" fmla="*/ 217545 w 1442445"/>
                <a:gd name="connsiteY124" fmla="*/ 157911 h 253421"/>
                <a:gd name="connsiteX125" fmla="*/ 217499 w 1442445"/>
                <a:gd name="connsiteY125" fmla="*/ 159617 h 253421"/>
                <a:gd name="connsiteX126" fmla="*/ 188868 w 1442445"/>
                <a:gd name="connsiteY126" fmla="*/ 243354 h 253421"/>
                <a:gd name="connsiteX127" fmla="*/ 1286630 w 1442445"/>
                <a:gd name="connsiteY127" fmla="*/ 114260 h 253421"/>
                <a:gd name="connsiteX128" fmla="*/ 1286490 w 1442445"/>
                <a:gd name="connsiteY128" fmla="*/ 115158 h 253421"/>
                <a:gd name="connsiteX129" fmla="*/ 1282150 w 1442445"/>
                <a:gd name="connsiteY129" fmla="*/ 174938 h 253421"/>
                <a:gd name="connsiteX130" fmla="*/ 1293685 w 1442445"/>
                <a:gd name="connsiteY130" fmla="*/ 201154 h 253421"/>
                <a:gd name="connsiteX131" fmla="*/ 1301841 w 1442445"/>
                <a:gd name="connsiteY131" fmla="*/ 202381 h 253421"/>
                <a:gd name="connsiteX132" fmla="*/ 1302450 w 1442445"/>
                <a:gd name="connsiteY132" fmla="*/ 198934 h 253421"/>
                <a:gd name="connsiteX133" fmla="*/ 1307958 w 1442445"/>
                <a:gd name="connsiteY133" fmla="*/ 111612 h 253421"/>
                <a:gd name="connsiteX134" fmla="*/ 1308047 w 1442445"/>
                <a:gd name="connsiteY134" fmla="*/ 111110 h 253421"/>
                <a:gd name="connsiteX135" fmla="*/ 1308552 w 1442445"/>
                <a:gd name="connsiteY135" fmla="*/ 111002 h 253421"/>
                <a:gd name="connsiteX136" fmla="*/ 1339151 w 1442445"/>
                <a:gd name="connsiteY136" fmla="*/ 103218 h 253421"/>
                <a:gd name="connsiteX137" fmla="*/ 1340280 w 1442445"/>
                <a:gd name="connsiteY137" fmla="*/ 102876 h 253421"/>
                <a:gd name="connsiteX138" fmla="*/ 1340133 w 1442445"/>
                <a:gd name="connsiteY138" fmla="*/ 104045 h 253421"/>
                <a:gd name="connsiteX139" fmla="*/ 1349242 w 1442445"/>
                <a:gd name="connsiteY139" fmla="*/ 127770 h 253421"/>
                <a:gd name="connsiteX140" fmla="*/ 1408541 w 1442445"/>
                <a:gd name="connsiteY140" fmla="*/ 150288 h 253421"/>
                <a:gd name="connsiteX141" fmla="*/ 1440258 w 1442445"/>
                <a:gd name="connsiteY141" fmla="*/ 140484 h 253421"/>
                <a:gd name="connsiteX142" fmla="*/ 1442334 w 1442445"/>
                <a:gd name="connsiteY142" fmla="*/ 135829 h 253421"/>
                <a:gd name="connsiteX143" fmla="*/ 1439074 w 1442445"/>
                <a:gd name="connsiteY143" fmla="*/ 135285 h 253421"/>
                <a:gd name="connsiteX144" fmla="*/ 1411973 w 1442445"/>
                <a:gd name="connsiteY144" fmla="*/ 139190 h 253421"/>
                <a:gd name="connsiteX145" fmla="*/ 1368462 w 1442445"/>
                <a:gd name="connsiteY145" fmla="*/ 120524 h 253421"/>
                <a:gd name="connsiteX146" fmla="*/ 1367790 w 1442445"/>
                <a:gd name="connsiteY146" fmla="*/ 119489 h 253421"/>
                <a:gd name="connsiteX147" fmla="*/ 1369017 w 1442445"/>
                <a:gd name="connsiteY147" fmla="*/ 119351 h 253421"/>
                <a:gd name="connsiteX148" fmla="*/ 1405921 w 1442445"/>
                <a:gd name="connsiteY148" fmla="*/ 101937 h 253421"/>
                <a:gd name="connsiteX149" fmla="*/ 1404348 w 1442445"/>
                <a:gd name="connsiteY149" fmla="*/ 87467 h 253421"/>
                <a:gd name="connsiteX150" fmla="*/ 1381176 w 1442445"/>
                <a:gd name="connsiteY150" fmla="*/ 75136 h 253421"/>
                <a:gd name="connsiteX151" fmla="*/ 1348402 w 1442445"/>
                <a:gd name="connsiteY151" fmla="*/ 89029 h 253421"/>
                <a:gd name="connsiteX152" fmla="*/ 1348255 w 1442445"/>
                <a:gd name="connsiteY152" fmla="*/ 89173 h 253421"/>
                <a:gd name="connsiteX153" fmla="*/ 1348054 w 1442445"/>
                <a:gd name="connsiteY153" fmla="*/ 89225 h 253421"/>
                <a:gd name="connsiteX154" fmla="*/ 1312118 w 1442445"/>
                <a:gd name="connsiteY154" fmla="*/ 96172 h 253421"/>
                <a:gd name="connsiteX155" fmla="*/ 1311032 w 1442445"/>
                <a:gd name="connsiteY155" fmla="*/ 96312 h 253421"/>
                <a:gd name="connsiteX156" fmla="*/ 1311269 w 1442445"/>
                <a:gd name="connsiteY156" fmla="*/ 95249 h 253421"/>
                <a:gd name="connsiteX157" fmla="*/ 1329174 w 1442445"/>
                <a:gd name="connsiteY157" fmla="*/ 37752 h 253421"/>
                <a:gd name="connsiteX158" fmla="*/ 1337537 w 1442445"/>
                <a:gd name="connsiteY158" fmla="*/ 29441 h 253421"/>
                <a:gd name="connsiteX159" fmla="*/ 1345901 w 1442445"/>
                <a:gd name="connsiteY159" fmla="*/ 36297 h 253421"/>
                <a:gd name="connsiteX160" fmla="*/ 1348661 w 1442445"/>
                <a:gd name="connsiteY160" fmla="*/ 38841 h 253421"/>
                <a:gd name="connsiteX161" fmla="*/ 1352391 w 1442445"/>
                <a:gd name="connsiteY161" fmla="*/ 35348 h 253421"/>
                <a:gd name="connsiteX162" fmla="*/ 1344697 w 1442445"/>
                <a:gd name="connsiteY162" fmla="*/ 15524 h 253421"/>
                <a:gd name="connsiteX163" fmla="*/ 1330714 w 1442445"/>
                <a:gd name="connsiteY163" fmla="*/ 10469 h 253421"/>
                <a:gd name="connsiteX164" fmla="*/ 1317438 w 1442445"/>
                <a:gd name="connsiteY164" fmla="*/ 18414 h 253421"/>
                <a:gd name="connsiteX165" fmla="*/ 1289717 w 1442445"/>
                <a:gd name="connsiteY165" fmla="*/ 97321 h 253421"/>
                <a:gd name="connsiteX166" fmla="*/ 1289589 w 1442445"/>
                <a:gd name="connsiteY166" fmla="*/ 97928 h 253421"/>
                <a:gd name="connsiteX167" fmla="*/ 1288600 w 1442445"/>
                <a:gd name="connsiteY167" fmla="*/ 97932 h 253421"/>
                <a:gd name="connsiteX168" fmla="*/ 1276338 w 1442445"/>
                <a:gd name="connsiteY168" fmla="*/ 97077 h 253421"/>
                <a:gd name="connsiteX169" fmla="*/ 1269886 w 1442445"/>
                <a:gd name="connsiteY169" fmla="*/ 98554 h 253421"/>
                <a:gd name="connsiteX170" fmla="*/ 1273234 w 1442445"/>
                <a:gd name="connsiteY170" fmla="*/ 109255 h 253421"/>
                <a:gd name="connsiteX171" fmla="*/ 1285712 w 1442445"/>
                <a:gd name="connsiteY171" fmla="*/ 114277 h 253421"/>
                <a:gd name="connsiteX172" fmla="*/ 1286630 w 1442445"/>
                <a:gd name="connsiteY172" fmla="*/ 114260 h 253421"/>
                <a:gd name="connsiteX173" fmla="*/ 881319 w 1442445"/>
                <a:gd name="connsiteY173" fmla="*/ 108138 h 253421"/>
                <a:gd name="connsiteX174" fmla="*/ 881133 w 1442445"/>
                <a:gd name="connsiteY174" fmla="*/ 109264 h 253421"/>
                <a:gd name="connsiteX175" fmla="*/ 876744 w 1442445"/>
                <a:gd name="connsiteY175" fmla="*/ 163432 h 253421"/>
                <a:gd name="connsiteX176" fmla="*/ 886106 w 1442445"/>
                <a:gd name="connsiteY176" fmla="*/ 191752 h 253421"/>
                <a:gd name="connsiteX177" fmla="*/ 891329 w 1442445"/>
                <a:gd name="connsiteY177" fmla="*/ 193216 h 253421"/>
                <a:gd name="connsiteX178" fmla="*/ 894901 w 1442445"/>
                <a:gd name="connsiteY178" fmla="*/ 191929 h 253421"/>
                <a:gd name="connsiteX179" fmla="*/ 895769 w 1442445"/>
                <a:gd name="connsiteY179" fmla="*/ 188138 h 253421"/>
                <a:gd name="connsiteX180" fmla="*/ 902997 w 1442445"/>
                <a:gd name="connsiteY180" fmla="*/ 104460 h 253421"/>
                <a:gd name="connsiteX181" fmla="*/ 903101 w 1442445"/>
                <a:gd name="connsiteY181" fmla="*/ 103943 h 253421"/>
                <a:gd name="connsiteX182" fmla="*/ 903621 w 1442445"/>
                <a:gd name="connsiteY182" fmla="*/ 103861 h 253421"/>
                <a:gd name="connsiteX183" fmla="*/ 937159 w 1442445"/>
                <a:gd name="connsiteY183" fmla="*/ 99703 h 253421"/>
                <a:gd name="connsiteX184" fmla="*/ 938952 w 1442445"/>
                <a:gd name="connsiteY184" fmla="*/ 99548 h 253421"/>
                <a:gd name="connsiteX185" fmla="*/ 937822 w 1442445"/>
                <a:gd name="connsiteY185" fmla="*/ 100943 h 253421"/>
                <a:gd name="connsiteX186" fmla="*/ 934472 w 1442445"/>
                <a:gd name="connsiteY186" fmla="*/ 113320 h 253421"/>
                <a:gd name="connsiteX187" fmla="*/ 976219 w 1442445"/>
                <a:gd name="connsiteY187" fmla="*/ 143869 h 253421"/>
                <a:gd name="connsiteX188" fmla="*/ 1009468 w 1442445"/>
                <a:gd name="connsiteY188" fmla="*/ 114439 h 253421"/>
                <a:gd name="connsiteX189" fmla="*/ 975737 w 1442445"/>
                <a:gd name="connsiteY189" fmla="*/ 79587 h 253421"/>
                <a:gd name="connsiteX190" fmla="*/ 956828 w 1442445"/>
                <a:gd name="connsiteY190" fmla="*/ 87979 h 253421"/>
                <a:gd name="connsiteX191" fmla="*/ 956604 w 1442445"/>
                <a:gd name="connsiteY191" fmla="*/ 88206 h 253421"/>
                <a:gd name="connsiteX192" fmla="*/ 956275 w 1442445"/>
                <a:gd name="connsiteY192" fmla="*/ 88201 h 253421"/>
                <a:gd name="connsiteX193" fmla="*/ 944205 w 1442445"/>
                <a:gd name="connsiteY193" fmla="*/ 88117 h 253421"/>
                <a:gd name="connsiteX194" fmla="*/ 907393 w 1442445"/>
                <a:gd name="connsiteY194" fmla="*/ 89126 h 253421"/>
                <a:gd name="connsiteX195" fmla="*/ 906366 w 1442445"/>
                <a:gd name="connsiteY195" fmla="*/ 89189 h 253421"/>
                <a:gd name="connsiteX196" fmla="*/ 906611 w 1442445"/>
                <a:gd name="connsiteY196" fmla="*/ 88188 h 253421"/>
                <a:gd name="connsiteX197" fmla="*/ 925927 w 1442445"/>
                <a:gd name="connsiteY197" fmla="*/ 33100 h 253421"/>
                <a:gd name="connsiteX198" fmla="*/ 934494 w 1442445"/>
                <a:gd name="connsiteY198" fmla="*/ 25123 h 253421"/>
                <a:gd name="connsiteX199" fmla="*/ 935336 w 1442445"/>
                <a:gd name="connsiteY199" fmla="*/ 25078 h 253421"/>
                <a:gd name="connsiteX200" fmla="*/ 944378 w 1442445"/>
                <a:gd name="connsiteY200" fmla="*/ 33018 h 253421"/>
                <a:gd name="connsiteX201" fmla="*/ 947136 w 1442445"/>
                <a:gd name="connsiteY201" fmla="*/ 35115 h 253421"/>
                <a:gd name="connsiteX202" fmla="*/ 951333 w 1442445"/>
                <a:gd name="connsiteY202" fmla="*/ 32264 h 253421"/>
                <a:gd name="connsiteX203" fmla="*/ 952794 w 1442445"/>
                <a:gd name="connsiteY203" fmla="*/ 22105 h 253421"/>
                <a:gd name="connsiteX204" fmla="*/ 942449 w 1442445"/>
                <a:gd name="connsiteY204" fmla="*/ 9115 h 253421"/>
                <a:gd name="connsiteX205" fmla="*/ 929152 w 1442445"/>
                <a:gd name="connsiteY205" fmla="*/ 5277 h 253421"/>
                <a:gd name="connsiteX206" fmla="*/ 914857 w 1442445"/>
                <a:gd name="connsiteY206" fmla="*/ 13420 h 253421"/>
                <a:gd name="connsiteX207" fmla="*/ 884654 w 1442445"/>
                <a:gd name="connsiteY207" fmla="*/ 90659 h 253421"/>
                <a:gd name="connsiteX208" fmla="*/ 884542 w 1442445"/>
                <a:gd name="connsiteY208" fmla="*/ 91189 h 253421"/>
                <a:gd name="connsiteX209" fmla="*/ 884006 w 1442445"/>
                <a:gd name="connsiteY209" fmla="*/ 91253 h 253421"/>
                <a:gd name="connsiteX210" fmla="*/ 842750 w 1442445"/>
                <a:gd name="connsiteY210" fmla="*/ 101304 h 253421"/>
                <a:gd name="connsiteX211" fmla="*/ 838471 w 1442445"/>
                <a:gd name="connsiteY211" fmla="*/ 105397 h 253421"/>
                <a:gd name="connsiteX212" fmla="*/ 844411 w 1442445"/>
                <a:gd name="connsiteY212" fmla="*/ 112633 h 253421"/>
                <a:gd name="connsiteX213" fmla="*/ 860864 w 1442445"/>
                <a:gd name="connsiteY213" fmla="*/ 114709 h 253421"/>
                <a:gd name="connsiteX214" fmla="*/ 880211 w 1442445"/>
                <a:gd name="connsiteY214" fmla="*/ 108404 h 253421"/>
                <a:gd name="connsiteX215" fmla="*/ 881319 w 1442445"/>
                <a:gd name="connsiteY215" fmla="*/ 108138 h 253421"/>
                <a:gd name="connsiteX216" fmla="*/ 1227768 w 1442445"/>
                <a:gd name="connsiteY216" fmla="*/ 115454 h 253421"/>
                <a:gd name="connsiteX217" fmla="*/ 1227664 w 1442445"/>
                <a:gd name="connsiteY217" fmla="*/ 117867 h 253421"/>
                <a:gd name="connsiteX218" fmla="*/ 1239631 w 1442445"/>
                <a:gd name="connsiteY218" fmla="*/ 148474 h 253421"/>
                <a:gd name="connsiteX219" fmla="*/ 1246519 w 1442445"/>
                <a:gd name="connsiteY219" fmla="*/ 150934 h 253421"/>
                <a:gd name="connsiteX220" fmla="*/ 1249243 w 1442445"/>
                <a:gd name="connsiteY220" fmla="*/ 149956 h 253421"/>
                <a:gd name="connsiteX221" fmla="*/ 1249461 w 1442445"/>
                <a:gd name="connsiteY221" fmla="*/ 147331 h 253421"/>
                <a:gd name="connsiteX222" fmla="*/ 1253055 w 1442445"/>
                <a:gd name="connsiteY222" fmla="*/ 102941 h 253421"/>
                <a:gd name="connsiteX223" fmla="*/ 1248858 w 1442445"/>
                <a:gd name="connsiteY223" fmla="*/ 85370 h 253421"/>
                <a:gd name="connsiteX224" fmla="*/ 1235358 w 1442445"/>
                <a:gd name="connsiteY224" fmla="*/ 85214 h 253421"/>
                <a:gd name="connsiteX225" fmla="*/ 1234587 w 1442445"/>
                <a:gd name="connsiteY225" fmla="*/ 86344 h 253421"/>
                <a:gd name="connsiteX226" fmla="*/ 1234067 w 1442445"/>
                <a:gd name="connsiteY226" fmla="*/ 87115 h 253421"/>
                <a:gd name="connsiteX227" fmla="*/ 1181723 w 1442445"/>
                <a:gd name="connsiteY227" fmla="*/ 133568 h 253421"/>
                <a:gd name="connsiteX228" fmla="*/ 1175703 w 1442445"/>
                <a:gd name="connsiteY228" fmla="*/ 130956 h 253421"/>
                <a:gd name="connsiteX229" fmla="*/ 1172042 w 1442445"/>
                <a:gd name="connsiteY229" fmla="*/ 110901 h 253421"/>
                <a:gd name="connsiteX230" fmla="*/ 1196219 w 1442445"/>
                <a:gd name="connsiteY230" fmla="*/ 30370 h 253421"/>
                <a:gd name="connsiteX231" fmla="*/ 1198800 w 1442445"/>
                <a:gd name="connsiteY231" fmla="*/ 20667 h 253421"/>
                <a:gd name="connsiteX232" fmla="*/ 1190519 w 1442445"/>
                <a:gd name="connsiteY232" fmla="*/ 17988 h 253421"/>
                <a:gd name="connsiteX233" fmla="*/ 1189998 w 1442445"/>
                <a:gd name="connsiteY233" fmla="*/ 17984 h 253421"/>
                <a:gd name="connsiteX234" fmla="*/ 1172928 w 1442445"/>
                <a:gd name="connsiteY234" fmla="*/ 28953 h 253421"/>
                <a:gd name="connsiteX235" fmla="*/ 1151481 w 1442445"/>
                <a:gd name="connsiteY235" fmla="*/ 114843 h 253421"/>
                <a:gd name="connsiteX236" fmla="*/ 1160331 w 1442445"/>
                <a:gd name="connsiteY236" fmla="*/ 137272 h 253421"/>
                <a:gd name="connsiteX237" fmla="*/ 1184315 w 1442445"/>
                <a:gd name="connsiteY237" fmla="*/ 148390 h 253421"/>
                <a:gd name="connsiteX238" fmla="*/ 1226301 w 1442445"/>
                <a:gd name="connsiteY238" fmla="*/ 117379 h 253421"/>
                <a:gd name="connsiteX239" fmla="*/ 1227768 w 1442445"/>
                <a:gd name="connsiteY239" fmla="*/ 115454 h 253421"/>
                <a:gd name="connsiteX240" fmla="*/ 28894 w 1442445"/>
                <a:gd name="connsiteY240" fmla="*/ 0 h 253421"/>
                <a:gd name="connsiteX241" fmla="*/ 20520 w 1442445"/>
                <a:gd name="connsiteY241" fmla="*/ 6741 h 253421"/>
                <a:gd name="connsiteX242" fmla="*/ 15546 w 1442445"/>
                <a:gd name="connsiteY242" fmla="*/ 29303 h 253421"/>
                <a:gd name="connsiteX243" fmla="*/ 499 w 1442445"/>
                <a:gd name="connsiteY243" fmla="*/ 110069 h 253421"/>
                <a:gd name="connsiteX244" fmla="*/ 12312 w 1442445"/>
                <a:gd name="connsiteY244" fmla="*/ 148872 h 253421"/>
                <a:gd name="connsiteX245" fmla="*/ 16546 w 1442445"/>
                <a:gd name="connsiteY245" fmla="*/ 148364 h 253421"/>
                <a:gd name="connsiteX246" fmla="*/ 17766 w 1442445"/>
                <a:gd name="connsiteY246" fmla="*/ 144072 h 253421"/>
                <a:gd name="connsiteX247" fmla="*/ 43585 w 1442445"/>
                <a:gd name="connsiteY247" fmla="*/ 19961 h 253421"/>
                <a:gd name="connsiteX248" fmla="*/ 37489 w 1442445"/>
                <a:gd name="connsiteY248" fmla="*/ 2309 h 253421"/>
                <a:gd name="connsiteX249" fmla="*/ 28894 w 1442445"/>
                <a:gd name="connsiteY249" fmla="*/ 0 h 253421"/>
                <a:gd name="connsiteX250" fmla="*/ 1035677 w 1442445"/>
                <a:gd name="connsiteY250" fmla="*/ 82581 h 253421"/>
                <a:gd name="connsiteX251" fmla="*/ 1030750 w 1442445"/>
                <a:gd name="connsiteY251" fmla="*/ 84303 h 253421"/>
                <a:gd name="connsiteX252" fmla="*/ 1030491 w 1442445"/>
                <a:gd name="connsiteY252" fmla="*/ 88560 h 253421"/>
                <a:gd name="connsiteX253" fmla="*/ 1027588 w 1442445"/>
                <a:gd name="connsiteY253" fmla="*/ 124729 h 253421"/>
                <a:gd name="connsiteX254" fmla="*/ 1026748 w 1442445"/>
                <a:gd name="connsiteY254" fmla="*/ 128792 h 253421"/>
                <a:gd name="connsiteX255" fmla="*/ 1034174 w 1442445"/>
                <a:gd name="connsiteY255" fmla="*/ 142299 h 253421"/>
                <a:gd name="connsiteX256" fmla="*/ 1041360 w 1442445"/>
                <a:gd name="connsiteY256" fmla="*/ 144521 h 253421"/>
                <a:gd name="connsiteX257" fmla="*/ 1047598 w 1442445"/>
                <a:gd name="connsiteY257" fmla="*/ 139914 h 253421"/>
                <a:gd name="connsiteX258" fmla="*/ 1115820 w 1442445"/>
                <a:gd name="connsiteY258" fmla="*/ 87480 h 253421"/>
                <a:gd name="connsiteX259" fmla="*/ 1118196 w 1442445"/>
                <a:gd name="connsiteY259" fmla="*/ 85359 h 253421"/>
                <a:gd name="connsiteX260" fmla="*/ 1114459 w 1442445"/>
                <a:gd name="connsiteY260" fmla="*/ 79905 h 253421"/>
                <a:gd name="connsiteX261" fmla="*/ 1102948 w 1442445"/>
                <a:gd name="connsiteY261" fmla="*/ 77959 h 253421"/>
                <a:gd name="connsiteX262" fmla="*/ 1055450 w 1442445"/>
                <a:gd name="connsiteY262" fmla="*/ 93759 h 253421"/>
                <a:gd name="connsiteX263" fmla="*/ 1054594 w 1442445"/>
                <a:gd name="connsiteY263" fmla="*/ 94347 h 253421"/>
                <a:gd name="connsiteX264" fmla="*/ 1054288 w 1442445"/>
                <a:gd name="connsiteY264" fmla="*/ 93349 h 253421"/>
                <a:gd name="connsiteX265" fmla="*/ 1040105 w 1442445"/>
                <a:gd name="connsiteY265" fmla="*/ 83173 h 253421"/>
                <a:gd name="connsiteX266" fmla="*/ 1035677 w 1442445"/>
                <a:gd name="connsiteY266" fmla="*/ 82581 h 253421"/>
                <a:gd name="connsiteX267" fmla="*/ 72336 w 1442445"/>
                <a:gd name="connsiteY267" fmla="*/ 64197 h 253421"/>
                <a:gd name="connsiteX268" fmla="*/ 63303 w 1442445"/>
                <a:gd name="connsiteY268" fmla="*/ 72546 h 253421"/>
                <a:gd name="connsiteX269" fmla="*/ 51207 w 1442445"/>
                <a:gd name="connsiteY269" fmla="*/ 120871 h 253421"/>
                <a:gd name="connsiteX270" fmla="*/ 59536 w 1442445"/>
                <a:gd name="connsiteY270" fmla="*/ 138802 h 253421"/>
                <a:gd name="connsiteX271" fmla="*/ 80298 w 1442445"/>
                <a:gd name="connsiteY271" fmla="*/ 139270 h 253421"/>
                <a:gd name="connsiteX272" fmla="*/ 86340 w 1442445"/>
                <a:gd name="connsiteY272" fmla="*/ 132486 h 253421"/>
                <a:gd name="connsiteX273" fmla="*/ 114960 w 1442445"/>
                <a:gd name="connsiteY273" fmla="*/ 103866 h 253421"/>
                <a:gd name="connsiteX274" fmla="*/ 120599 w 1442445"/>
                <a:gd name="connsiteY274" fmla="*/ 106026 h 253421"/>
                <a:gd name="connsiteX275" fmla="*/ 158417 w 1442445"/>
                <a:gd name="connsiteY275" fmla="*/ 139100 h 253421"/>
                <a:gd name="connsiteX276" fmla="*/ 162462 w 1442445"/>
                <a:gd name="connsiteY276" fmla="*/ 138851 h 253421"/>
                <a:gd name="connsiteX277" fmla="*/ 167828 w 1442445"/>
                <a:gd name="connsiteY277" fmla="*/ 133948 h 253421"/>
                <a:gd name="connsiteX278" fmla="*/ 165149 w 1442445"/>
                <a:gd name="connsiteY278" fmla="*/ 131879 h 253421"/>
                <a:gd name="connsiteX279" fmla="*/ 164685 w 1442445"/>
                <a:gd name="connsiteY279" fmla="*/ 131883 h 253421"/>
                <a:gd name="connsiteX280" fmla="*/ 143409 w 1442445"/>
                <a:gd name="connsiteY280" fmla="*/ 97997 h 253421"/>
                <a:gd name="connsiteX281" fmla="*/ 142988 w 1442445"/>
                <a:gd name="connsiteY281" fmla="*/ 95971 h 253421"/>
                <a:gd name="connsiteX282" fmla="*/ 129207 w 1442445"/>
                <a:gd name="connsiteY282" fmla="*/ 81475 h 253421"/>
                <a:gd name="connsiteX283" fmla="*/ 123410 w 1442445"/>
                <a:gd name="connsiteY283" fmla="*/ 80307 h 253421"/>
                <a:gd name="connsiteX284" fmla="*/ 114202 w 1442445"/>
                <a:gd name="connsiteY284" fmla="*/ 84091 h 253421"/>
                <a:gd name="connsiteX285" fmla="*/ 88409 w 1442445"/>
                <a:gd name="connsiteY285" fmla="*/ 108361 h 253421"/>
                <a:gd name="connsiteX286" fmla="*/ 75633 w 1442445"/>
                <a:gd name="connsiteY286" fmla="*/ 120334 h 253421"/>
                <a:gd name="connsiteX287" fmla="*/ 74535 w 1442445"/>
                <a:gd name="connsiteY287" fmla="*/ 120586 h 253421"/>
                <a:gd name="connsiteX288" fmla="*/ 74710 w 1442445"/>
                <a:gd name="connsiteY288" fmla="*/ 119472 h 253421"/>
                <a:gd name="connsiteX289" fmla="*/ 86951 w 1442445"/>
                <a:gd name="connsiteY289" fmla="*/ 78153 h 253421"/>
                <a:gd name="connsiteX290" fmla="*/ 87202 w 1442445"/>
                <a:gd name="connsiteY290" fmla="*/ 72457 h 253421"/>
                <a:gd name="connsiteX291" fmla="*/ 79350 w 1442445"/>
                <a:gd name="connsiteY291" fmla="*/ 65889 h 253421"/>
                <a:gd name="connsiteX292" fmla="*/ 72336 w 1442445"/>
                <a:gd name="connsiteY292" fmla="*/ 64197 h 253421"/>
                <a:gd name="connsiteX293" fmla="*/ 559596 w 1442445"/>
                <a:gd name="connsiteY293" fmla="*/ 108886 h 253421"/>
                <a:gd name="connsiteX294" fmla="*/ 559669 w 1442445"/>
                <a:gd name="connsiteY294" fmla="*/ 110564 h 253421"/>
                <a:gd name="connsiteX295" fmla="*/ 579232 w 1442445"/>
                <a:gd name="connsiteY295" fmla="*/ 140188 h 253421"/>
                <a:gd name="connsiteX296" fmla="*/ 586615 w 1442445"/>
                <a:gd name="connsiteY296" fmla="*/ 139108 h 253421"/>
                <a:gd name="connsiteX297" fmla="*/ 586300 w 1442445"/>
                <a:gd name="connsiteY297" fmla="*/ 136184 h 253421"/>
                <a:gd name="connsiteX298" fmla="*/ 583645 w 1442445"/>
                <a:gd name="connsiteY298" fmla="*/ 92178 h 253421"/>
                <a:gd name="connsiteX299" fmla="*/ 575740 w 1442445"/>
                <a:gd name="connsiteY299" fmla="*/ 77136 h 253421"/>
                <a:gd name="connsiteX300" fmla="*/ 575508 w 1442445"/>
                <a:gd name="connsiteY300" fmla="*/ 76995 h 253421"/>
                <a:gd name="connsiteX301" fmla="*/ 568687 w 1442445"/>
                <a:gd name="connsiteY301" fmla="*/ 74786 h 253421"/>
                <a:gd name="connsiteX302" fmla="*/ 564259 w 1442445"/>
                <a:gd name="connsiteY302" fmla="*/ 77255 h 253421"/>
                <a:gd name="connsiteX303" fmla="*/ 523986 w 1442445"/>
                <a:gd name="connsiteY303" fmla="*/ 117348 h 253421"/>
                <a:gd name="connsiteX304" fmla="*/ 516890 w 1442445"/>
                <a:gd name="connsiteY304" fmla="*/ 113854 h 253421"/>
                <a:gd name="connsiteX305" fmla="*/ 520595 w 1442445"/>
                <a:gd name="connsiteY305" fmla="*/ 87450 h 253421"/>
                <a:gd name="connsiteX306" fmla="*/ 515357 w 1442445"/>
                <a:gd name="connsiteY306" fmla="*/ 74352 h 253421"/>
                <a:gd name="connsiteX307" fmla="*/ 506617 w 1442445"/>
                <a:gd name="connsiteY307" fmla="*/ 71654 h 253421"/>
                <a:gd name="connsiteX308" fmla="*/ 499775 w 1442445"/>
                <a:gd name="connsiteY308" fmla="*/ 75993 h 253421"/>
                <a:gd name="connsiteX309" fmla="*/ 491659 w 1442445"/>
                <a:gd name="connsiteY309" fmla="*/ 104933 h 253421"/>
                <a:gd name="connsiteX310" fmla="*/ 497539 w 1442445"/>
                <a:gd name="connsiteY310" fmla="*/ 123271 h 253421"/>
                <a:gd name="connsiteX311" fmla="*/ 518955 w 1442445"/>
                <a:gd name="connsiteY311" fmla="*/ 134466 h 253421"/>
                <a:gd name="connsiteX312" fmla="*/ 558384 w 1442445"/>
                <a:gd name="connsiteY312" fmla="*/ 110046 h 253421"/>
                <a:gd name="connsiteX313" fmla="*/ 559596 w 1442445"/>
                <a:gd name="connsiteY313" fmla="*/ 108886 h 253421"/>
                <a:gd name="connsiteX314" fmla="*/ 619622 w 1442445"/>
                <a:gd name="connsiteY314" fmla="*/ 71714 h 253421"/>
                <a:gd name="connsiteX315" fmla="*/ 610961 w 1442445"/>
                <a:gd name="connsiteY315" fmla="*/ 81704 h 253421"/>
                <a:gd name="connsiteX316" fmla="*/ 613129 w 1442445"/>
                <a:gd name="connsiteY316" fmla="*/ 128427 h 253421"/>
                <a:gd name="connsiteX317" fmla="*/ 626860 w 1442445"/>
                <a:gd name="connsiteY317" fmla="*/ 138227 h 253421"/>
                <a:gd name="connsiteX318" fmla="*/ 633695 w 1442445"/>
                <a:gd name="connsiteY318" fmla="*/ 136979 h 253421"/>
                <a:gd name="connsiteX319" fmla="*/ 633720 w 1442445"/>
                <a:gd name="connsiteY319" fmla="*/ 134594 h 253421"/>
                <a:gd name="connsiteX320" fmla="*/ 634168 w 1442445"/>
                <a:gd name="connsiteY320" fmla="*/ 89584 h 253421"/>
                <a:gd name="connsiteX321" fmla="*/ 628037 w 1442445"/>
                <a:gd name="connsiteY321" fmla="*/ 74060 h 253421"/>
                <a:gd name="connsiteX322" fmla="*/ 619622 w 1442445"/>
                <a:gd name="connsiteY322" fmla="*/ 71714 h 253421"/>
                <a:gd name="connsiteX323" fmla="*/ 972156 w 1442445"/>
                <a:gd name="connsiteY323" fmla="*/ 129924 h 253421"/>
                <a:gd name="connsiteX324" fmla="*/ 961513 w 1442445"/>
                <a:gd name="connsiteY324" fmla="*/ 125202 h 253421"/>
                <a:gd name="connsiteX325" fmla="*/ 958762 w 1442445"/>
                <a:gd name="connsiteY325" fmla="*/ 112970 h 253421"/>
                <a:gd name="connsiteX326" fmla="*/ 978392 w 1442445"/>
                <a:gd name="connsiteY326" fmla="*/ 95375 h 253421"/>
                <a:gd name="connsiteX327" fmla="*/ 987783 w 1442445"/>
                <a:gd name="connsiteY327" fmla="*/ 99384 h 253421"/>
                <a:gd name="connsiteX328" fmla="*/ 992026 w 1442445"/>
                <a:gd name="connsiteY328" fmla="*/ 110912 h 253421"/>
                <a:gd name="connsiteX329" fmla="*/ 972156 w 1442445"/>
                <a:gd name="connsiteY329" fmla="*/ 129924 h 253421"/>
                <a:gd name="connsiteX330" fmla="*/ 197152 w 1442445"/>
                <a:gd name="connsiteY330" fmla="*/ 119748 h 253421"/>
                <a:gd name="connsiteX331" fmla="*/ 194076 w 1442445"/>
                <a:gd name="connsiteY331" fmla="*/ 118357 h 253421"/>
                <a:gd name="connsiteX332" fmla="*/ 193685 w 1442445"/>
                <a:gd name="connsiteY332" fmla="*/ 112955 h 253421"/>
                <a:gd name="connsiteX333" fmla="*/ 218480 w 1442445"/>
                <a:gd name="connsiteY333" fmla="*/ 82968 h 253421"/>
                <a:gd name="connsiteX334" fmla="*/ 223584 w 1442445"/>
                <a:gd name="connsiteY334" fmla="*/ 85962 h 253421"/>
                <a:gd name="connsiteX335" fmla="*/ 224273 w 1442445"/>
                <a:gd name="connsiteY335" fmla="*/ 95822 h 253421"/>
                <a:gd name="connsiteX336" fmla="*/ 197152 w 1442445"/>
                <a:gd name="connsiteY336" fmla="*/ 119748 h 253421"/>
                <a:gd name="connsiteX337" fmla="*/ 1363738 w 1442445"/>
                <a:gd name="connsiteY337" fmla="*/ 108089 h 253421"/>
                <a:gd name="connsiteX338" fmla="*/ 1363649 w 1442445"/>
                <a:gd name="connsiteY338" fmla="*/ 107292 h 253421"/>
                <a:gd name="connsiteX339" fmla="*/ 1377013 w 1442445"/>
                <a:gd name="connsiteY339" fmla="*/ 88389 h 253421"/>
                <a:gd name="connsiteX340" fmla="*/ 1380586 w 1442445"/>
                <a:gd name="connsiteY340" fmla="*/ 87789 h 253421"/>
                <a:gd name="connsiteX341" fmla="*/ 1387537 w 1442445"/>
                <a:gd name="connsiteY341" fmla="*/ 91416 h 253421"/>
                <a:gd name="connsiteX342" fmla="*/ 1386241 w 1442445"/>
                <a:gd name="connsiteY342" fmla="*/ 98420 h 253421"/>
                <a:gd name="connsiteX343" fmla="*/ 1364526 w 1442445"/>
                <a:gd name="connsiteY343" fmla="*/ 107961 h 253421"/>
                <a:gd name="connsiteX344" fmla="*/ 1363738 w 1442445"/>
                <a:gd name="connsiteY344" fmla="*/ 108089 h 253421"/>
                <a:gd name="connsiteX345" fmla="*/ 304292 w 1442445"/>
                <a:gd name="connsiteY345" fmla="*/ 99125 h 253421"/>
                <a:gd name="connsiteX346" fmla="*/ 304627 w 1442445"/>
                <a:gd name="connsiteY346" fmla="*/ 97563 h 253421"/>
                <a:gd name="connsiteX347" fmla="*/ 319961 w 1442445"/>
                <a:gd name="connsiteY347" fmla="*/ 74613 h 253421"/>
                <a:gd name="connsiteX348" fmla="*/ 323812 w 1442445"/>
                <a:gd name="connsiteY348" fmla="*/ 73621 h 253421"/>
                <a:gd name="connsiteX349" fmla="*/ 329750 w 1442445"/>
                <a:gd name="connsiteY349" fmla="*/ 77047 h 253421"/>
                <a:gd name="connsiteX350" fmla="*/ 326480 w 1442445"/>
                <a:gd name="connsiteY350" fmla="*/ 85028 h 253421"/>
                <a:gd name="connsiteX351" fmla="*/ 305716 w 1442445"/>
                <a:gd name="connsiteY351" fmla="*/ 98405 h 253421"/>
                <a:gd name="connsiteX352" fmla="*/ 304292 w 1442445"/>
                <a:gd name="connsiteY352" fmla="*/ 99125 h 253421"/>
                <a:gd name="connsiteX353" fmla="*/ 1261641 w 1442445"/>
                <a:gd name="connsiteY353" fmla="*/ 19896 h 253421"/>
                <a:gd name="connsiteX354" fmla="*/ 1256744 w 1442445"/>
                <a:gd name="connsiteY354" fmla="*/ 21537 h 253421"/>
                <a:gd name="connsiteX355" fmla="*/ 1257043 w 1442445"/>
                <a:gd name="connsiteY355" fmla="*/ 28283 h 253421"/>
                <a:gd name="connsiteX356" fmla="*/ 1277789 w 1442445"/>
                <a:gd name="connsiteY356" fmla="*/ 43377 h 253421"/>
                <a:gd name="connsiteX357" fmla="*/ 1281971 w 1442445"/>
                <a:gd name="connsiteY357" fmla="*/ 41444 h 253421"/>
                <a:gd name="connsiteX358" fmla="*/ 1275811 w 1442445"/>
                <a:gd name="connsiteY358" fmla="*/ 25605 h 253421"/>
                <a:gd name="connsiteX359" fmla="*/ 1261641 w 1442445"/>
                <a:gd name="connsiteY359" fmla="*/ 19896 h 253421"/>
                <a:gd name="connsiteX360" fmla="*/ 625925 w 1442445"/>
                <a:gd name="connsiteY360" fmla="*/ 19326 h 253421"/>
                <a:gd name="connsiteX361" fmla="*/ 622106 w 1442445"/>
                <a:gd name="connsiteY361" fmla="*/ 21021 h 253421"/>
                <a:gd name="connsiteX362" fmla="*/ 621730 w 1442445"/>
                <a:gd name="connsiteY362" fmla="*/ 28400 h 253421"/>
                <a:gd name="connsiteX363" fmla="*/ 641816 w 1442445"/>
                <a:gd name="connsiteY363" fmla="*/ 40722 h 253421"/>
                <a:gd name="connsiteX364" fmla="*/ 647305 w 1442445"/>
                <a:gd name="connsiteY364" fmla="*/ 38517 h 253421"/>
                <a:gd name="connsiteX365" fmla="*/ 646929 w 1442445"/>
                <a:gd name="connsiteY365" fmla="*/ 34841 h 253421"/>
                <a:gd name="connsiteX366" fmla="*/ 625925 w 1442445"/>
                <a:gd name="connsiteY366" fmla="*/ 19326 h 25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</a:cxnLst>
              <a:rect l="l" t="t" r="r" b="b"/>
              <a:pathLst>
                <a:path w="1442445" h="253421">
                  <a:moveTo>
                    <a:pt x="216732" y="122424"/>
                  </a:moveTo>
                  <a:lnTo>
                    <a:pt x="216847" y="124360"/>
                  </a:lnTo>
                  <a:cubicBezTo>
                    <a:pt x="217214" y="130397"/>
                    <a:pt x="217454" y="136279"/>
                    <a:pt x="217558" y="141852"/>
                  </a:cubicBezTo>
                  <a:lnTo>
                    <a:pt x="217564" y="142268"/>
                  </a:lnTo>
                  <a:lnTo>
                    <a:pt x="217218" y="142499"/>
                  </a:lnTo>
                  <a:cubicBezTo>
                    <a:pt x="191054" y="160032"/>
                    <a:pt x="174792" y="178958"/>
                    <a:pt x="167502" y="200338"/>
                  </a:cubicBezTo>
                  <a:cubicBezTo>
                    <a:pt x="161853" y="216905"/>
                    <a:pt x="162795" y="232813"/>
                    <a:pt x="170016" y="242905"/>
                  </a:cubicBezTo>
                  <a:cubicBezTo>
                    <a:pt x="174939" y="249787"/>
                    <a:pt x="182306" y="253422"/>
                    <a:pt x="191320" y="253422"/>
                  </a:cubicBezTo>
                  <a:cubicBezTo>
                    <a:pt x="206855" y="253422"/>
                    <a:pt x="219102" y="241618"/>
                    <a:pt x="227720" y="218333"/>
                  </a:cubicBezTo>
                  <a:cubicBezTo>
                    <a:pt x="236661" y="194186"/>
                    <a:pt x="239514" y="163564"/>
                    <a:pt x="240333" y="142128"/>
                  </a:cubicBezTo>
                  <a:lnTo>
                    <a:pt x="240352" y="141722"/>
                  </a:lnTo>
                  <a:lnTo>
                    <a:pt x="240698" y="141506"/>
                  </a:lnTo>
                  <a:cubicBezTo>
                    <a:pt x="252094" y="134507"/>
                    <a:pt x="265523" y="127563"/>
                    <a:pt x="280599" y="120863"/>
                  </a:cubicBezTo>
                  <a:lnTo>
                    <a:pt x="281180" y="120601"/>
                  </a:lnTo>
                  <a:lnTo>
                    <a:pt x="281539" y="121131"/>
                  </a:lnTo>
                  <a:cubicBezTo>
                    <a:pt x="288380" y="131198"/>
                    <a:pt x="303938" y="141394"/>
                    <a:pt x="320438" y="141394"/>
                  </a:cubicBezTo>
                  <a:cubicBezTo>
                    <a:pt x="340786" y="141394"/>
                    <a:pt x="360625" y="125673"/>
                    <a:pt x="368211" y="118919"/>
                  </a:cubicBezTo>
                  <a:lnTo>
                    <a:pt x="369209" y="118029"/>
                  </a:lnTo>
                  <a:lnTo>
                    <a:pt x="369466" y="119340"/>
                  </a:lnTo>
                  <a:cubicBezTo>
                    <a:pt x="370671" y="125483"/>
                    <a:pt x="374188" y="130283"/>
                    <a:pt x="380216" y="134019"/>
                  </a:cubicBezTo>
                  <a:cubicBezTo>
                    <a:pt x="390094" y="140143"/>
                    <a:pt x="397857" y="140249"/>
                    <a:pt x="403847" y="134233"/>
                  </a:cubicBezTo>
                  <a:cubicBezTo>
                    <a:pt x="408290" y="129768"/>
                    <a:pt x="411787" y="125671"/>
                    <a:pt x="414871" y="122062"/>
                  </a:cubicBezTo>
                  <a:cubicBezTo>
                    <a:pt x="420109" y="115927"/>
                    <a:pt x="424630" y="110633"/>
                    <a:pt x="431782" y="105667"/>
                  </a:cubicBezTo>
                  <a:cubicBezTo>
                    <a:pt x="434860" y="103516"/>
                    <a:pt x="437929" y="104363"/>
                    <a:pt x="439953" y="107827"/>
                  </a:cubicBezTo>
                  <a:cubicBezTo>
                    <a:pt x="452164" y="128714"/>
                    <a:pt x="466184" y="140327"/>
                    <a:pt x="480494" y="141400"/>
                  </a:cubicBezTo>
                  <a:cubicBezTo>
                    <a:pt x="484767" y="141705"/>
                    <a:pt x="488244" y="140454"/>
                    <a:pt x="488800" y="138519"/>
                  </a:cubicBezTo>
                  <a:cubicBezTo>
                    <a:pt x="489171" y="137218"/>
                    <a:pt x="488093" y="135663"/>
                    <a:pt x="485843" y="134261"/>
                  </a:cubicBezTo>
                  <a:cubicBezTo>
                    <a:pt x="476710" y="128574"/>
                    <a:pt x="468830" y="117113"/>
                    <a:pt x="461754" y="99211"/>
                  </a:cubicBezTo>
                  <a:cubicBezTo>
                    <a:pt x="459339" y="93137"/>
                    <a:pt x="456121" y="89271"/>
                    <a:pt x="445219" y="85020"/>
                  </a:cubicBezTo>
                  <a:cubicBezTo>
                    <a:pt x="443154" y="84218"/>
                    <a:pt x="441295" y="83821"/>
                    <a:pt x="439539" y="83821"/>
                  </a:cubicBezTo>
                  <a:cubicBezTo>
                    <a:pt x="435867" y="83821"/>
                    <a:pt x="433281" y="85577"/>
                    <a:pt x="430775" y="87277"/>
                  </a:cubicBezTo>
                  <a:lnTo>
                    <a:pt x="430112" y="87722"/>
                  </a:lnTo>
                  <a:cubicBezTo>
                    <a:pt x="422587" y="92763"/>
                    <a:pt x="413537" y="102166"/>
                    <a:pt x="406933" y="109028"/>
                  </a:cubicBezTo>
                  <a:cubicBezTo>
                    <a:pt x="403935" y="112147"/>
                    <a:pt x="401341" y="114841"/>
                    <a:pt x="399667" y="116307"/>
                  </a:cubicBezTo>
                  <a:cubicBezTo>
                    <a:pt x="396794" y="118826"/>
                    <a:pt x="394643" y="119314"/>
                    <a:pt x="393358" y="117975"/>
                  </a:cubicBezTo>
                  <a:cubicBezTo>
                    <a:pt x="392379" y="116962"/>
                    <a:pt x="392232" y="115160"/>
                    <a:pt x="392278" y="113823"/>
                  </a:cubicBezTo>
                  <a:cubicBezTo>
                    <a:pt x="392654" y="103617"/>
                    <a:pt x="395522" y="93264"/>
                    <a:pt x="401577" y="80248"/>
                  </a:cubicBezTo>
                  <a:cubicBezTo>
                    <a:pt x="402626" y="77985"/>
                    <a:pt x="402767" y="75909"/>
                    <a:pt x="401994" y="74079"/>
                  </a:cubicBezTo>
                  <a:cubicBezTo>
                    <a:pt x="400937" y="71574"/>
                    <a:pt x="398170" y="69476"/>
                    <a:pt x="394001" y="68021"/>
                  </a:cubicBezTo>
                  <a:cubicBezTo>
                    <a:pt x="391347" y="67087"/>
                    <a:pt x="389126" y="66636"/>
                    <a:pt x="387204" y="66636"/>
                  </a:cubicBezTo>
                  <a:cubicBezTo>
                    <a:pt x="382199" y="66636"/>
                    <a:pt x="379869" y="69841"/>
                    <a:pt x="377914" y="74652"/>
                  </a:cubicBezTo>
                  <a:cubicBezTo>
                    <a:pt x="374367" y="83369"/>
                    <a:pt x="372464" y="90277"/>
                    <a:pt x="370637" y="101051"/>
                  </a:cubicBezTo>
                  <a:lnTo>
                    <a:pt x="370594" y="101297"/>
                  </a:lnTo>
                  <a:lnTo>
                    <a:pt x="370414" y="101466"/>
                  </a:lnTo>
                  <a:cubicBezTo>
                    <a:pt x="352268" y="119215"/>
                    <a:pt x="336215" y="128215"/>
                    <a:pt x="322704" y="128215"/>
                  </a:cubicBezTo>
                  <a:cubicBezTo>
                    <a:pt x="312142" y="128215"/>
                    <a:pt x="305267" y="122092"/>
                    <a:pt x="303845" y="111415"/>
                  </a:cubicBezTo>
                  <a:lnTo>
                    <a:pt x="303772" y="110851"/>
                  </a:lnTo>
                  <a:lnTo>
                    <a:pt x="304288" y="110618"/>
                  </a:lnTo>
                  <a:cubicBezTo>
                    <a:pt x="319211" y="103887"/>
                    <a:pt x="333995" y="96476"/>
                    <a:pt x="341019" y="87903"/>
                  </a:cubicBezTo>
                  <a:cubicBezTo>
                    <a:pt x="346142" y="81639"/>
                    <a:pt x="345170" y="76010"/>
                    <a:pt x="343455" y="72390"/>
                  </a:cubicBezTo>
                  <a:cubicBezTo>
                    <a:pt x="340248" y="65619"/>
                    <a:pt x="331631" y="60316"/>
                    <a:pt x="323836" y="60316"/>
                  </a:cubicBezTo>
                  <a:cubicBezTo>
                    <a:pt x="313976" y="60316"/>
                    <a:pt x="277739" y="78561"/>
                    <a:pt x="277673" y="110434"/>
                  </a:cubicBezTo>
                  <a:lnTo>
                    <a:pt x="277668" y="110931"/>
                  </a:lnTo>
                  <a:lnTo>
                    <a:pt x="277215" y="111132"/>
                  </a:lnTo>
                  <a:cubicBezTo>
                    <a:pt x="268493" y="114936"/>
                    <a:pt x="255403" y="120776"/>
                    <a:pt x="242475" y="127585"/>
                  </a:cubicBezTo>
                  <a:lnTo>
                    <a:pt x="241192" y="128261"/>
                  </a:lnTo>
                  <a:lnTo>
                    <a:pt x="241367" y="126822"/>
                  </a:lnTo>
                  <a:cubicBezTo>
                    <a:pt x="243551" y="108564"/>
                    <a:pt x="248726" y="93865"/>
                    <a:pt x="251156" y="88646"/>
                  </a:cubicBezTo>
                  <a:cubicBezTo>
                    <a:pt x="252789" y="85145"/>
                    <a:pt x="253219" y="82769"/>
                    <a:pt x="252545" y="80952"/>
                  </a:cubicBezTo>
                  <a:cubicBezTo>
                    <a:pt x="251850" y="79067"/>
                    <a:pt x="249940" y="77561"/>
                    <a:pt x="245959" y="75751"/>
                  </a:cubicBezTo>
                  <a:cubicBezTo>
                    <a:pt x="240959" y="73481"/>
                    <a:pt x="235866" y="74021"/>
                    <a:pt x="232207" y="77129"/>
                  </a:cubicBezTo>
                  <a:lnTo>
                    <a:pt x="231531" y="77702"/>
                  </a:lnTo>
                  <a:lnTo>
                    <a:pt x="231066" y="76946"/>
                  </a:lnTo>
                  <a:cubicBezTo>
                    <a:pt x="231021" y="76877"/>
                    <a:pt x="226498" y="69740"/>
                    <a:pt x="217225" y="69740"/>
                  </a:cubicBezTo>
                  <a:cubicBezTo>
                    <a:pt x="198137" y="69740"/>
                    <a:pt x="170066" y="102609"/>
                    <a:pt x="168001" y="115549"/>
                  </a:cubicBezTo>
                  <a:cubicBezTo>
                    <a:pt x="167461" y="118930"/>
                    <a:pt x="168554" y="122247"/>
                    <a:pt x="171245" y="125403"/>
                  </a:cubicBezTo>
                  <a:cubicBezTo>
                    <a:pt x="176349" y="131388"/>
                    <a:pt x="186853" y="135836"/>
                    <a:pt x="194938" y="135359"/>
                  </a:cubicBezTo>
                  <a:cubicBezTo>
                    <a:pt x="203012" y="134873"/>
                    <a:pt x="211261" y="129090"/>
                    <a:pt x="215506" y="123913"/>
                  </a:cubicBezTo>
                  <a:lnTo>
                    <a:pt x="216732" y="122424"/>
                  </a:lnTo>
                  <a:close/>
                  <a:moveTo>
                    <a:pt x="749451" y="123146"/>
                  </a:moveTo>
                  <a:lnTo>
                    <a:pt x="748933" y="124260"/>
                  </a:lnTo>
                  <a:cubicBezTo>
                    <a:pt x="744723" y="133140"/>
                    <a:pt x="740701" y="142869"/>
                    <a:pt x="736446" y="153168"/>
                  </a:cubicBezTo>
                  <a:cubicBezTo>
                    <a:pt x="724557" y="181991"/>
                    <a:pt x="711070" y="214652"/>
                    <a:pt x="686023" y="247447"/>
                  </a:cubicBezTo>
                  <a:cubicBezTo>
                    <a:pt x="684876" y="248953"/>
                    <a:pt x="684521" y="250342"/>
                    <a:pt x="685027" y="251361"/>
                  </a:cubicBezTo>
                  <a:cubicBezTo>
                    <a:pt x="685504" y="252340"/>
                    <a:pt x="686781" y="252925"/>
                    <a:pt x="688418" y="252925"/>
                  </a:cubicBezTo>
                  <a:cubicBezTo>
                    <a:pt x="690172" y="252925"/>
                    <a:pt x="692185" y="252262"/>
                    <a:pt x="694067" y="251061"/>
                  </a:cubicBezTo>
                  <a:cubicBezTo>
                    <a:pt x="710824" y="240389"/>
                    <a:pt x="734659" y="204612"/>
                    <a:pt x="759452" y="152915"/>
                  </a:cubicBezTo>
                  <a:cubicBezTo>
                    <a:pt x="778151" y="113972"/>
                    <a:pt x="790275" y="101030"/>
                    <a:pt x="800006" y="90631"/>
                  </a:cubicBezTo>
                  <a:cubicBezTo>
                    <a:pt x="801181" y="89376"/>
                    <a:pt x="802328" y="88154"/>
                    <a:pt x="803445" y="86925"/>
                  </a:cubicBezTo>
                  <a:cubicBezTo>
                    <a:pt x="804954" y="85272"/>
                    <a:pt x="805529" y="83685"/>
                    <a:pt x="805155" y="82210"/>
                  </a:cubicBezTo>
                  <a:cubicBezTo>
                    <a:pt x="804531" y="79799"/>
                    <a:pt x="801406" y="77503"/>
                    <a:pt x="796347" y="75753"/>
                  </a:cubicBezTo>
                  <a:cubicBezTo>
                    <a:pt x="789353" y="73332"/>
                    <a:pt x="784024" y="74243"/>
                    <a:pt x="780168" y="78576"/>
                  </a:cubicBezTo>
                  <a:lnTo>
                    <a:pt x="779708" y="79103"/>
                  </a:lnTo>
                  <a:cubicBezTo>
                    <a:pt x="767027" y="93493"/>
                    <a:pt x="750343" y="110644"/>
                    <a:pt x="742943" y="110644"/>
                  </a:cubicBezTo>
                  <a:cubicBezTo>
                    <a:pt x="741044" y="110644"/>
                    <a:pt x="739476" y="109989"/>
                    <a:pt x="738295" y="108708"/>
                  </a:cubicBezTo>
                  <a:cubicBezTo>
                    <a:pt x="734722" y="104836"/>
                    <a:pt x="735413" y="96230"/>
                    <a:pt x="735919" y="89947"/>
                  </a:cubicBezTo>
                  <a:cubicBezTo>
                    <a:pt x="736007" y="88862"/>
                    <a:pt x="736091" y="87871"/>
                    <a:pt x="736135" y="87022"/>
                  </a:cubicBezTo>
                  <a:cubicBezTo>
                    <a:pt x="736418" y="81631"/>
                    <a:pt x="733435" y="78868"/>
                    <a:pt x="725821" y="77486"/>
                  </a:cubicBezTo>
                  <a:cubicBezTo>
                    <a:pt x="720032" y="76434"/>
                    <a:pt x="700843" y="75218"/>
                    <a:pt x="686174" y="74501"/>
                  </a:cubicBezTo>
                  <a:lnTo>
                    <a:pt x="685297" y="74457"/>
                  </a:lnTo>
                  <a:lnTo>
                    <a:pt x="685461" y="73598"/>
                  </a:lnTo>
                  <a:cubicBezTo>
                    <a:pt x="689630" y="51585"/>
                    <a:pt x="696445" y="30102"/>
                    <a:pt x="702421" y="20138"/>
                  </a:cubicBezTo>
                  <a:cubicBezTo>
                    <a:pt x="704674" y="16379"/>
                    <a:pt x="706335" y="13338"/>
                    <a:pt x="705463" y="11228"/>
                  </a:cubicBezTo>
                  <a:cubicBezTo>
                    <a:pt x="704741" y="9474"/>
                    <a:pt x="702177" y="8089"/>
                    <a:pt x="697406" y="6882"/>
                  </a:cubicBezTo>
                  <a:cubicBezTo>
                    <a:pt x="695477" y="6387"/>
                    <a:pt x="693693" y="6143"/>
                    <a:pt x="692086" y="6143"/>
                  </a:cubicBezTo>
                  <a:cubicBezTo>
                    <a:pt x="684340" y="6143"/>
                    <a:pt x="681994" y="11932"/>
                    <a:pt x="680433" y="15766"/>
                  </a:cubicBezTo>
                  <a:cubicBezTo>
                    <a:pt x="673279" y="33404"/>
                    <a:pt x="667721" y="53698"/>
                    <a:pt x="664742" y="72980"/>
                  </a:cubicBezTo>
                  <a:lnTo>
                    <a:pt x="664641" y="73643"/>
                  </a:lnTo>
                  <a:lnTo>
                    <a:pt x="663969" y="73630"/>
                  </a:lnTo>
                  <a:cubicBezTo>
                    <a:pt x="660070" y="73520"/>
                    <a:pt x="656811" y="73479"/>
                    <a:pt x="654532" y="73513"/>
                  </a:cubicBezTo>
                  <a:cubicBezTo>
                    <a:pt x="651899" y="73548"/>
                    <a:pt x="650301" y="74056"/>
                    <a:pt x="649640" y="75073"/>
                  </a:cubicBezTo>
                  <a:cubicBezTo>
                    <a:pt x="649026" y="76019"/>
                    <a:pt x="649167" y="77548"/>
                    <a:pt x="650059" y="79626"/>
                  </a:cubicBezTo>
                  <a:cubicBezTo>
                    <a:pt x="651439" y="82821"/>
                    <a:pt x="654839" y="88495"/>
                    <a:pt x="662090" y="90556"/>
                  </a:cubicBezTo>
                  <a:lnTo>
                    <a:pt x="662686" y="90722"/>
                  </a:lnTo>
                  <a:lnTo>
                    <a:pt x="662641" y="91344"/>
                  </a:lnTo>
                  <a:cubicBezTo>
                    <a:pt x="662327" y="95699"/>
                    <a:pt x="662163" y="100017"/>
                    <a:pt x="662135" y="104175"/>
                  </a:cubicBezTo>
                  <a:cubicBezTo>
                    <a:pt x="661971" y="125448"/>
                    <a:pt x="668358" y="137989"/>
                    <a:pt x="680614" y="140450"/>
                  </a:cubicBezTo>
                  <a:cubicBezTo>
                    <a:pt x="681096" y="140547"/>
                    <a:pt x="681649" y="140592"/>
                    <a:pt x="682221" y="140592"/>
                  </a:cubicBezTo>
                  <a:cubicBezTo>
                    <a:pt x="683835" y="140592"/>
                    <a:pt x="685962" y="140167"/>
                    <a:pt x="686664" y="138959"/>
                  </a:cubicBezTo>
                  <a:cubicBezTo>
                    <a:pt x="687085" y="138238"/>
                    <a:pt x="686947" y="137251"/>
                    <a:pt x="686256" y="136032"/>
                  </a:cubicBezTo>
                  <a:cubicBezTo>
                    <a:pt x="680147" y="125250"/>
                    <a:pt x="681068" y="104982"/>
                    <a:pt x="682914" y="89880"/>
                  </a:cubicBezTo>
                  <a:lnTo>
                    <a:pt x="682981" y="89303"/>
                  </a:lnTo>
                  <a:lnTo>
                    <a:pt x="683554" y="89217"/>
                  </a:lnTo>
                  <a:cubicBezTo>
                    <a:pt x="691591" y="88035"/>
                    <a:pt x="701709" y="86653"/>
                    <a:pt x="708705" y="86525"/>
                  </a:cubicBezTo>
                  <a:lnTo>
                    <a:pt x="708917" y="86525"/>
                  </a:lnTo>
                  <a:cubicBezTo>
                    <a:pt x="710524" y="86525"/>
                    <a:pt x="711655" y="86892"/>
                    <a:pt x="712368" y="87655"/>
                  </a:cubicBezTo>
                  <a:cubicBezTo>
                    <a:pt x="713301" y="88636"/>
                    <a:pt x="713351" y="90076"/>
                    <a:pt x="713263" y="91480"/>
                  </a:cubicBezTo>
                  <a:cubicBezTo>
                    <a:pt x="713068" y="94688"/>
                    <a:pt x="713010" y="105784"/>
                    <a:pt x="720689" y="113953"/>
                  </a:cubicBezTo>
                  <a:cubicBezTo>
                    <a:pt x="726687" y="120327"/>
                    <a:pt x="735960" y="123453"/>
                    <a:pt x="748229" y="123167"/>
                  </a:cubicBezTo>
                  <a:lnTo>
                    <a:pt x="749451" y="123146"/>
                  </a:lnTo>
                  <a:close/>
                  <a:moveTo>
                    <a:pt x="188868" y="243354"/>
                  </a:moveTo>
                  <a:cubicBezTo>
                    <a:pt x="185955" y="243354"/>
                    <a:pt x="183497" y="242047"/>
                    <a:pt x="181762" y="239572"/>
                  </a:cubicBezTo>
                  <a:cubicBezTo>
                    <a:pt x="179094" y="235768"/>
                    <a:pt x="175911" y="225822"/>
                    <a:pt x="184557" y="201910"/>
                  </a:cubicBezTo>
                  <a:cubicBezTo>
                    <a:pt x="190175" y="186384"/>
                    <a:pt x="200541" y="172351"/>
                    <a:pt x="216242" y="159015"/>
                  </a:cubicBezTo>
                  <a:lnTo>
                    <a:pt x="217545" y="157911"/>
                  </a:lnTo>
                  <a:lnTo>
                    <a:pt x="217499" y="159617"/>
                  </a:lnTo>
                  <a:cubicBezTo>
                    <a:pt x="216128" y="208917"/>
                    <a:pt x="204353" y="243354"/>
                    <a:pt x="188868" y="243354"/>
                  </a:cubicBezTo>
                  <a:close/>
                  <a:moveTo>
                    <a:pt x="1286630" y="114260"/>
                  </a:moveTo>
                  <a:lnTo>
                    <a:pt x="1286490" y="115158"/>
                  </a:lnTo>
                  <a:cubicBezTo>
                    <a:pt x="1282716" y="138782"/>
                    <a:pt x="1281094" y="161127"/>
                    <a:pt x="1282150" y="174938"/>
                  </a:cubicBezTo>
                  <a:cubicBezTo>
                    <a:pt x="1283572" y="193400"/>
                    <a:pt x="1289412" y="198737"/>
                    <a:pt x="1293685" y="201154"/>
                  </a:cubicBezTo>
                  <a:cubicBezTo>
                    <a:pt x="1297167" y="203124"/>
                    <a:pt x="1300636" y="203723"/>
                    <a:pt x="1301841" y="202381"/>
                  </a:cubicBezTo>
                  <a:cubicBezTo>
                    <a:pt x="1302435" y="201709"/>
                    <a:pt x="1302644" y="200554"/>
                    <a:pt x="1302450" y="198934"/>
                  </a:cubicBezTo>
                  <a:cubicBezTo>
                    <a:pt x="1299860" y="176599"/>
                    <a:pt x="1301869" y="144774"/>
                    <a:pt x="1307958" y="111612"/>
                  </a:cubicBezTo>
                  <a:lnTo>
                    <a:pt x="1308047" y="111110"/>
                  </a:lnTo>
                  <a:lnTo>
                    <a:pt x="1308552" y="111002"/>
                  </a:lnTo>
                  <a:cubicBezTo>
                    <a:pt x="1318674" y="108903"/>
                    <a:pt x="1329536" y="106138"/>
                    <a:pt x="1339151" y="103218"/>
                  </a:cubicBezTo>
                  <a:lnTo>
                    <a:pt x="1340280" y="102876"/>
                  </a:lnTo>
                  <a:lnTo>
                    <a:pt x="1340133" y="104045"/>
                  </a:lnTo>
                  <a:cubicBezTo>
                    <a:pt x="1339187" y="111482"/>
                    <a:pt x="1342507" y="120131"/>
                    <a:pt x="1349242" y="127770"/>
                  </a:cubicBezTo>
                  <a:cubicBezTo>
                    <a:pt x="1361848" y="142080"/>
                    <a:pt x="1383465" y="150288"/>
                    <a:pt x="1408541" y="150288"/>
                  </a:cubicBezTo>
                  <a:cubicBezTo>
                    <a:pt x="1423194" y="150288"/>
                    <a:pt x="1435912" y="144558"/>
                    <a:pt x="1440258" y="140484"/>
                  </a:cubicBezTo>
                  <a:cubicBezTo>
                    <a:pt x="1442118" y="138750"/>
                    <a:pt x="1442723" y="136791"/>
                    <a:pt x="1442334" y="135829"/>
                  </a:cubicBezTo>
                  <a:cubicBezTo>
                    <a:pt x="1442008" y="134993"/>
                    <a:pt x="1440809" y="134793"/>
                    <a:pt x="1439074" y="135285"/>
                  </a:cubicBezTo>
                  <a:cubicBezTo>
                    <a:pt x="1429862" y="137875"/>
                    <a:pt x="1420738" y="139190"/>
                    <a:pt x="1411973" y="139190"/>
                  </a:cubicBezTo>
                  <a:cubicBezTo>
                    <a:pt x="1392038" y="139190"/>
                    <a:pt x="1376179" y="132386"/>
                    <a:pt x="1368462" y="120524"/>
                  </a:cubicBezTo>
                  <a:lnTo>
                    <a:pt x="1367790" y="119489"/>
                  </a:lnTo>
                  <a:lnTo>
                    <a:pt x="1369017" y="119351"/>
                  </a:lnTo>
                  <a:cubicBezTo>
                    <a:pt x="1384318" y="117588"/>
                    <a:pt x="1402951" y="108799"/>
                    <a:pt x="1405921" y="101937"/>
                  </a:cubicBezTo>
                  <a:cubicBezTo>
                    <a:pt x="1408532" y="95917"/>
                    <a:pt x="1406508" y="90744"/>
                    <a:pt x="1404348" y="87467"/>
                  </a:cubicBezTo>
                  <a:cubicBezTo>
                    <a:pt x="1399661" y="80317"/>
                    <a:pt x="1389911" y="75136"/>
                    <a:pt x="1381176" y="75136"/>
                  </a:cubicBezTo>
                  <a:cubicBezTo>
                    <a:pt x="1370192" y="75136"/>
                    <a:pt x="1356709" y="80849"/>
                    <a:pt x="1348402" y="89029"/>
                  </a:cubicBezTo>
                  <a:lnTo>
                    <a:pt x="1348255" y="89173"/>
                  </a:lnTo>
                  <a:lnTo>
                    <a:pt x="1348054" y="89225"/>
                  </a:lnTo>
                  <a:cubicBezTo>
                    <a:pt x="1335850" y="92275"/>
                    <a:pt x="1323424" y="94679"/>
                    <a:pt x="1312118" y="96172"/>
                  </a:cubicBezTo>
                  <a:lnTo>
                    <a:pt x="1311032" y="96312"/>
                  </a:lnTo>
                  <a:lnTo>
                    <a:pt x="1311269" y="95249"/>
                  </a:lnTo>
                  <a:cubicBezTo>
                    <a:pt x="1316179" y="73168"/>
                    <a:pt x="1322372" y="53289"/>
                    <a:pt x="1329174" y="37752"/>
                  </a:cubicBezTo>
                  <a:cubicBezTo>
                    <a:pt x="1331346" y="32778"/>
                    <a:pt x="1333504" y="29657"/>
                    <a:pt x="1337537" y="29441"/>
                  </a:cubicBezTo>
                  <a:cubicBezTo>
                    <a:pt x="1341302" y="29164"/>
                    <a:pt x="1344211" y="31629"/>
                    <a:pt x="1345901" y="36297"/>
                  </a:cubicBezTo>
                  <a:cubicBezTo>
                    <a:pt x="1346451" y="37841"/>
                    <a:pt x="1347538" y="38841"/>
                    <a:pt x="1348661" y="38841"/>
                  </a:cubicBezTo>
                  <a:cubicBezTo>
                    <a:pt x="1349948" y="38841"/>
                    <a:pt x="1351273" y="37601"/>
                    <a:pt x="1352391" y="35348"/>
                  </a:cubicBezTo>
                  <a:cubicBezTo>
                    <a:pt x="1354668" y="30754"/>
                    <a:pt x="1352836" y="20993"/>
                    <a:pt x="1344697" y="15524"/>
                  </a:cubicBezTo>
                  <a:cubicBezTo>
                    <a:pt x="1339697" y="12169"/>
                    <a:pt x="1334995" y="10469"/>
                    <a:pt x="1330714" y="10469"/>
                  </a:cubicBezTo>
                  <a:cubicBezTo>
                    <a:pt x="1325361" y="10469"/>
                    <a:pt x="1320765" y="13215"/>
                    <a:pt x="1317438" y="18414"/>
                  </a:cubicBezTo>
                  <a:cubicBezTo>
                    <a:pt x="1306355" y="35716"/>
                    <a:pt x="1296512" y="63739"/>
                    <a:pt x="1289717" y="97321"/>
                  </a:cubicBezTo>
                  <a:lnTo>
                    <a:pt x="1289589" y="97928"/>
                  </a:lnTo>
                  <a:lnTo>
                    <a:pt x="1288600" y="97932"/>
                  </a:lnTo>
                  <a:cubicBezTo>
                    <a:pt x="1283904" y="97932"/>
                    <a:pt x="1279783" y="97645"/>
                    <a:pt x="1276338" y="97077"/>
                  </a:cubicBezTo>
                  <a:cubicBezTo>
                    <a:pt x="1272944" y="96522"/>
                    <a:pt x="1270698" y="97032"/>
                    <a:pt x="1269886" y="98554"/>
                  </a:cubicBezTo>
                  <a:cubicBezTo>
                    <a:pt x="1268808" y="100572"/>
                    <a:pt x="1270026" y="104468"/>
                    <a:pt x="1273234" y="109255"/>
                  </a:cubicBezTo>
                  <a:cubicBezTo>
                    <a:pt x="1276292" y="113819"/>
                    <a:pt x="1280489" y="114389"/>
                    <a:pt x="1285712" y="114277"/>
                  </a:cubicBezTo>
                  <a:lnTo>
                    <a:pt x="1286630" y="114260"/>
                  </a:lnTo>
                  <a:close/>
                  <a:moveTo>
                    <a:pt x="881319" y="108138"/>
                  </a:moveTo>
                  <a:lnTo>
                    <a:pt x="881133" y="109264"/>
                  </a:lnTo>
                  <a:cubicBezTo>
                    <a:pt x="877816" y="129501"/>
                    <a:pt x="876178" y="149753"/>
                    <a:pt x="876744" y="163432"/>
                  </a:cubicBezTo>
                  <a:cubicBezTo>
                    <a:pt x="877399" y="179042"/>
                    <a:pt x="880466" y="188307"/>
                    <a:pt x="886106" y="191752"/>
                  </a:cubicBezTo>
                  <a:cubicBezTo>
                    <a:pt x="887579" y="192655"/>
                    <a:pt x="889573" y="193216"/>
                    <a:pt x="891329" y="193216"/>
                  </a:cubicBezTo>
                  <a:cubicBezTo>
                    <a:pt x="892430" y="193216"/>
                    <a:pt x="893949" y="192992"/>
                    <a:pt x="894901" y="191929"/>
                  </a:cubicBezTo>
                  <a:cubicBezTo>
                    <a:pt x="895659" y="191080"/>
                    <a:pt x="895955" y="189806"/>
                    <a:pt x="895769" y="188138"/>
                  </a:cubicBezTo>
                  <a:cubicBezTo>
                    <a:pt x="893664" y="168916"/>
                    <a:pt x="896433" y="136855"/>
                    <a:pt x="902997" y="104460"/>
                  </a:cubicBezTo>
                  <a:lnTo>
                    <a:pt x="903101" y="103943"/>
                  </a:lnTo>
                  <a:lnTo>
                    <a:pt x="903621" y="103861"/>
                  </a:lnTo>
                  <a:cubicBezTo>
                    <a:pt x="914620" y="102092"/>
                    <a:pt x="926221" y="100649"/>
                    <a:pt x="937159" y="99703"/>
                  </a:cubicBezTo>
                  <a:lnTo>
                    <a:pt x="938952" y="99548"/>
                  </a:lnTo>
                  <a:lnTo>
                    <a:pt x="937822" y="100943"/>
                  </a:lnTo>
                  <a:cubicBezTo>
                    <a:pt x="935574" y="103710"/>
                    <a:pt x="934472" y="107760"/>
                    <a:pt x="934472" y="113320"/>
                  </a:cubicBezTo>
                  <a:cubicBezTo>
                    <a:pt x="934472" y="125779"/>
                    <a:pt x="950739" y="143869"/>
                    <a:pt x="976219" y="143869"/>
                  </a:cubicBezTo>
                  <a:cubicBezTo>
                    <a:pt x="991280" y="143869"/>
                    <a:pt x="1009468" y="130743"/>
                    <a:pt x="1009468" y="114439"/>
                  </a:cubicBezTo>
                  <a:cubicBezTo>
                    <a:pt x="1009468" y="93591"/>
                    <a:pt x="992026" y="79587"/>
                    <a:pt x="975737" y="79587"/>
                  </a:cubicBezTo>
                  <a:cubicBezTo>
                    <a:pt x="969093" y="79587"/>
                    <a:pt x="962200" y="82646"/>
                    <a:pt x="956828" y="87979"/>
                  </a:cubicBezTo>
                  <a:lnTo>
                    <a:pt x="956604" y="88206"/>
                  </a:lnTo>
                  <a:lnTo>
                    <a:pt x="956275" y="88201"/>
                  </a:lnTo>
                  <a:cubicBezTo>
                    <a:pt x="952243" y="88147"/>
                    <a:pt x="948210" y="88117"/>
                    <a:pt x="944205" y="88117"/>
                  </a:cubicBezTo>
                  <a:cubicBezTo>
                    <a:pt x="930835" y="88117"/>
                    <a:pt x="918452" y="88454"/>
                    <a:pt x="907393" y="89126"/>
                  </a:cubicBezTo>
                  <a:lnTo>
                    <a:pt x="906366" y="89189"/>
                  </a:lnTo>
                  <a:lnTo>
                    <a:pt x="906611" y="88188"/>
                  </a:lnTo>
                  <a:cubicBezTo>
                    <a:pt x="912201" y="65163"/>
                    <a:pt x="918884" y="46114"/>
                    <a:pt x="925927" y="33100"/>
                  </a:cubicBezTo>
                  <a:cubicBezTo>
                    <a:pt x="928742" y="27912"/>
                    <a:pt x="930647" y="25531"/>
                    <a:pt x="934494" y="25123"/>
                  </a:cubicBezTo>
                  <a:cubicBezTo>
                    <a:pt x="934783" y="25093"/>
                    <a:pt x="935066" y="25078"/>
                    <a:pt x="935336" y="25078"/>
                  </a:cubicBezTo>
                  <a:cubicBezTo>
                    <a:pt x="939056" y="25078"/>
                    <a:pt x="942093" y="27749"/>
                    <a:pt x="944378" y="33018"/>
                  </a:cubicBezTo>
                  <a:cubicBezTo>
                    <a:pt x="944817" y="34031"/>
                    <a:pt x="945776" y="35115"/>
                    <a:pt x="947136" y="35115"/>
                  </a:cubicBezTo>
                  <a:cubicBezTo>
                    <a:pt x="948469" y="35115"/>
                    <a:pt x="949921" y="34128"/>
                    <a:pt x="951333" y="32264"/>
                  </a:cubicBezTo>
                  <a:cubicBezTo>
                    <a:pt x="953143" y="29873"/>
                    <a:pt x="953686" y="26071"/>
                    <a:pt x="952794" y="22105"/>
                  </a:cubicBezTo>
                  <a:cubicBezTo>
                    <a:pt x="951536" y="16593"/>
                    <a:pt x="947769" y="11858"/>
                    <a:pt x="942449" y="9115"/>
                  </a:cubicBezTo>
                  <a:cubicBezTo>
                    <a:pt x="937509" y="6566"/>
                    <a:pt x="933029" y="5277"/>
                    <a:pt x="929152" y="5277"/>
                  </a:cubicBezTo>
                  <a:cubicBezTo>
                    <a:pt x="923512" y="5277"/>
                    <a:pt x="918832" y="7938"/>
                    <a:pt x="914857" y="13420"/>
                  </a:cubicBezTo>
                  <a:cubicBezTo>
                    <a:pt x="898934" y="35376"/>
                    <a:pt x="889646" y="67543"/>
                    <a:pt x="884654" y="90659"/>
                  </a:cubicBezTo>
                  <a:lnTo>
                    <a:pt x="884542" y="91189"/>
                  </a:lnTo>
                  <a:lnTo>
                    <a:pt x="884006" y="91253"/>
                  </a:lnTo>
                  <a:cubicBezTo>
                    <a:pt x="866711" y="93433"/>
                    <a:pt x="852839" y="96816"/>
                    <a:pt x="842750" y="101304"/>
                  </a:cubicBezTo>
                  <a:cubicBezTo>
                    <a:pt x="840041" y="102509"/>
                    <a:pt x="838596" y="103885"/>
                    <a:pt x="838471" y="105397"/>
                  </a:cubicBezTo>
                  <a:cubicBezTo>
                    <a:pt x="838301" y="107397"/>
                    <a:pt x="840355" y="109899"/>
                    <a:pt x="844411" y="112633"/>
                  </a:cubicBezTo>
                  <a:cubicBezTo>
                    <a:pt x="850744" y="116899"/>
                    <a:pt x="855790" y="117515"/>
                    <a:pt x="860864" y="114709"/>
                  </a:cubicBezTo>
                  <a:cubicBezTo>
                    <a:pt x="864465" y="112717"/>
                    <a:pt x="871163" y="110536"/>
                    <a:pt x="880211" y="108404"/>
                  </a:cubicBezTo>
                  <a:lnTo>
                    <a:pt x="881319" y="108138"/>
                  </a:lnTo>
                  <a:close/>
                  <a:moveTo>
                    <a:pt x="1227768" y="115454"/>
                  </a:moveTo>
                  <a:lnTo>
                    <a:pt x="1227664" y="117867"/>
                  </a:lnTo>
                  <a:cubicBezTo>
                    <a:pt x="1227068" y="132289"/>
                    <a:pt x="1230982" y="142301"/>
                    <a:pt x="1239631" y="148474"/>
                  </a:cubicBezTo>
                  <a:cubicBezTo>
                    <a:pt x="1241756" y="149993"/>
                    <a:pt x="1244391" y="150934"/>
                    <a:pt x="1246519" y="150934"/>
                  </a:cubicBezTo>
                  <a:cubicBezTo>
                    <a:pt x="1247793" y="150934"/>
                    <a:pt x="1248767" y="150589"/>
                    <a:pt x="1249243" y="149956"/>
                  </a:cubicBezTo>
                  <a:cubicBezTo>
                    <a:pt x="1249705" y="149357"/>
                    <a:pt x="1249772" y="148474"/>
                    <a:pt x="1249461" y="147331"/>
                  </a:cubicBezTo>
                  <a:cubicBezTo>
                    <a:pt x="1246061" y="134955"/>
                    <a:pt x="1247376" y="118772"/>
                    <a:pt x="1253055" y="102941"/>
                  </a:cubicBezTo>
                  <a:cubicBezTo>
                    <a:pt x="1255956" y="94837"/>
                    <a:pt x="1257198" y="90024"/>
                    <a:pt x="1248858" y="85370"/>
                  </a:cubicBezTo>
                  <a:cubicBezTo>
                    <a:pt x="1242497" y="81810"/>
                    <a:pt x="1237905" y="81706"/>
                    <a:pt x="1235358" y="85214"/>
                  </a:cubicBezTo>
                  <a:cubicBezTo>
                    <a:pt x="1235093" y="85573"/>
                    <a:pt x="1234846" y="85949"/>
                    <a:pt x="1234587" y="86344"/>
                  </a:cubicBezTo>
                  <a:lnTo>
                    <a:pt x="1234067" y="87115"/>
                  </a:lnTo>
                  <a:cubicBezTo>
                    <a:pt x="1219413" y="108542"/>
                    <a:pt x="1196904" y="133568"/>
                    <a:pt x="1181723" y="133568"/>
                  </a:cubicBezTo>
                  <a:cubicBezTo>
                    <a:pt x="1179328" y="133568"/>
                    <a:pt x="1177304" y="132691"/>
                    <a:pt x="1175703" y="130956"/>
                  </a:cubicBezTo>
                  <a:cubicBezTo>
                    <a:pt x="1172468" y="127446"/>
                    <a:pt x="1171241" y="120701"/>
                    <a:pt x="1172042" y="110901"/>
                  </a:cubicBezTo>
                  <a:cubicBezTo>
                    <a:pt x="1174090" y="85927"/>
                    <a:pt x="1184940" y="49805"/>
                    <a:pt x="1196219" y="30370"/>
                  </a:cubicBezTo>
                  <a:cubicBezTo>
                    <a:pt x="1199049" y="25501"/>
                    <a:pt x="1199844" y="22509"/>
                    <a:pt x="1198800" y="20667"/>
                  </a:cubicBezTo>
                  <a:cubicBezTo>
                    <a:pt x="1197843" y="18963"/>
                    <a:pt x="1195059" y="18064"/>
                    <a:pt x="1190519" y="17988"/>
                  </a:cubicBezTo>
                  <a:lnTo>
                    <a:pt x="1189998" y="17984"/>
                  </a:lnTo>
                  <a:cubicBezTo>
                    <a:pt x="1179356" y="17984"/>
                    <a:pt x="1175399" y="23529"/>
                    <a:pt x="1172928" y="28953"/>
                  </a:cubicBezTo>
                  <a:cubicBezTo>
                    <a:pt x="1163456" y="49836"/>
                    <a:pt x="1152049" y="81687"/>
                    <a:pt x="1151481" y="114843"/>
                  </a:cubicBezTo>
                  <a:cubicBezTo>
                    <a:pt x="1151334" y="123597"/>
                    <a:pt x="1154311" y="131144"/>
                    <a:pt x="1160331" y="137272"/>
                  </a:cubicBezTo>
                  <a:cubicBezTo>
                    <a:pt x="1168353" y="145428"/>
                    <a:pt x="1179069" y="148390"/>
                    <a:pt x="1184315" y="148390"/>
                  </a:cubicBezTo>
                  <a:cubicBezTo>
                    <a:pt x="1200271" y="148390"/>
                    <a:pt x="1217476" y="128958"/>
                    <a:pt x="1226301" y="117379"/>
                  </a:cubicBezTo>
                  <a:lnTo>
                    <a:pt x="1227768" y="115454"/>
                  </a:lnTo>
                  <a:close/>
                  <a:moveTo>
                    <a:pt x="28894" y="0"/>
                  </a:moveTo>
                  <a:cubicBezTo>
                    <a:pt x="23659" y="0"/>
                    <a:pt x="21136" y="3482"/>
                    <a:pt x="20520" y="6741"/>
                  </a:cubicBezTo>
                  <a:cubicBezTo>
                    <a:pt x="19527" y="12003"/>
                    <a:pt x="17682" y="20021"/>
                    <a:pt x="15546" y="29303"/>
                  </a:cubicBezTo>
                  <a:cubicBezTo>
                    <a:pt x="9999" y="53425"/>
                    <a:pt x="2398" y="86463"/>
                    <a:pt x="499" y="110069"/>
                  </a:cubicBezTo>
                  <a:cubicBezTo>
                    <a:pt x="-1905" y="140016"/>
                    <a:pt x="4757" y="146416"/>
                    <a:pt x="12312" y="148872"/>
                  </a:cubicBezTo>
                  <a:cubicBezTo>
                    <a:pt x="14109" y="149466"/>
                    <a:pt x="15636" y="149288"/>
                    <a:pt x="16546" y="148364"/>
                  </a:cubicBezTo>
                  <a:cubicBezTo>
                    <a:pt x="17375" y="147526"/>
                    <a:pt x="17786" y="146083"/>
                    <a:pt x="17766" y="144072"/>
                  </a:cubicBezTo>
                  <a:cubicBezTo>
                    <a:pt x="17546" y="118431"/>
                    <a:pt x="34707" y="48635"/>
                    <a:pt x="43585" y="19961"/>
                  </a:cubicBezTo>
                  <a:cubicBezTo>
                    <a:pt x="46928" y="9154"/>
                    <a:pt x="44023" y="5424"/>
                    <a:pt x="37489" y="2309"/>
                  </a:cubicBezTo>
                  <a:cubicBezTo>
                    <a:pt x="34273" y="775"/>
                    <a:pt x="31383" y="0"/>
                    <a:pt x="28894" y="0"/>
                  </a:cubicBezTo>
                  <a:close/>
                  <a:moveTo>
                    <a:pt x="1035677" y="82581"/>
                  </a:moveTo>
                  <a:cubicBezTo>
                    <a:pt x="1034012" y="82581"/>
                    <a:pt x="1031808" y="82881"/>
                    <a:pt x="1030750" y="84303"/>
                  </a:cubicBezTo>
                  <a:cubicBezTo>
                    <a:pt x="1030022" y="85281"/>
                    <a:pt x="1029931" y="86715"/>
                    <a:pt x="1030491" y="88560"/>
                  </a:cubicBezTo>
                  <a:cubicBezTo>
                    <a:pt x="1033266" y="97723"/>
                    <a:pt x="1029711" y="114627"/>
                    <a:pt x="1027588" y="124729"/>
                  </a:cubicBezTo>
                  <a:cubicBezTo>
                    <a:pt x="1027270" y="126267"/>
                    <a:pt x="1026979" y="127639"/>
                    <a:pt x="1026748" y="128792"/>
                  </a:cubicBezTo>
                  <a:cubicBezTo>
                    <a:pt x="1025156" y="137000"/>
                    <a:pt x="1028936" y="139223"/>
                    <a:pt x="1034174" y="142299"/>
                  </a:cubicBezTo>
                  <a:cubicBezTo>
                    <a:pt x="1036612" y="143735"/>
                    <a:pt x="1039159" y="144521"/>
                    <a:pt x="1041360" y="144521"/>
                  </a:cubicBezTo>
                  <a:cubicBezTo>
                    <a:pt x="1043533" y="144521"/>
                    <a:pt x="1046382" y="143724"/>
                    <a:pt x="1047598" y="139914"/>
                  </a:cubicBezTo>
                  <a:cubicBezTo>
                    <a:pt x="1053504" y="121213"/>
                    <a:pt x="1070233" y="89530"/>
                    <a:pt x="1115820" y="87480"/>
                  </a:cubicBezTo>
                  <a:cubicBezTo>
                    <a:pt x="1117070" y="87430"/>
                    <a:pt x="1117962" y="86631"/>
                    <a:pt x="1118196" y="85359"/>
                  </a:cubicBezTo>
                  <a:cubicBezTo>
                    <a:pt x="1118522" y="83596"/>
                    <a:pt x="1117496" y="81220"/>
                    <a:pt x="1114459" y="79905"/>
                  </a:cubicBezTo>
                  <a:cubicBezTo>
                    <a:pt x="1111491" y="78613"/>
                    <a:pt x="1107614" y="77959"/>
                    <a:pt x="1102948" y="77959"/>
                  </a:cubicBezTo>
                  <a:cubicBezTo>
                    <a:pt x="1088349" y="77959"/>
                    <a:pt x="1069267" y="84309"/>
                    <a:pt x="1055450" y="93759"/>
                  </a:cubicBezTo>
                  <a:lnTo>
                    <a:pt x="1054594" y="94347"/>
                  </a:lnTo>
                  <a:lnTo>
                    <a:pt x="1054288" y="93349"/>
                  </a:lnTo>
                  <a:cubicBezTo>
                    <a:pt x="1053849" y="91902"/>
                    <a:pt x="1046868" y="84873"/>
                    <a:pt x="1040105" y="83173"/>
                  </a:cubicBezTo>
                  <a:cubicBezTo>
                    <a:pt x="1038578" y="82784"/>
                    <a:pt x="1037044" y="82581"/>
                    <a:pt x="1035677" y="82581"/>
                  </a:cubicBezTo>
                  <a:close/>
                  <a:moveTo>
                    <a:pt x="72336" y="64197"/>
                  </a:moveTo>
                  <a:cubicBezTo>
                    <a:pt x="67641" y="64197"/>
                    <a:pt x="65398" y="67394"/>
                    <a:pt x="63303" y="72546"/>
                  </a:cubicBezTo>
                  <a:cubicBezTo>
                    <a:pt x="59020" y="83067"/>
                    <a:pt x="53482" y="105198"/>
                    <a:pt x="51207" y="120871"/>
                  </a:cubicBezTo>
                  <a:cubicBezTo>
                    <a:pt x="49771" y="130723"/>
                    <a:pt x="52488" y="134229"/>
                    <a:pt x="59536" y="138802"/>
                  </a:cubicBezTo>
                  <a:cubicBezTo>
                    <a:pt x="67589" y="144033"/>
                    <a:pt x="75784" y="144271"/>
                    <a:pt x="80298" y="139270"/>
                  </a:cubicBezTo>
                  <a:cubicBezTo>
                    <a:pt x="82247" y="137110"/>
                    <a:pt x="84270" y="134823"/>
                    <a:pt x="86340" y="132486"/>
                  </a:cubicBezTo>
                  <a:cubicBezTo>
                    <a:pt x="95522" y="122120"/>
                    <a:pt x="105933" y="110367"/>
                    <a:pt x="114960" y="103866"/>
                  </a:cubicBezTo>
                  <a:cubicBezTo>
                    <a:pt x="117126" y="102308"/>
                    <a:pt x="119582" y="103300"/>
                    <a:pt x="120599" y="106026"/>
                  </a:cubicBezTo>
                  <a:cubicBezTo>
                    <a:pt x="131324" y="134806"/>
                    <a:pt x="148895" y="139100"/>
                    <a:pt x="158417" y="139100"/>
                  </a:cubicBezTo>
                  <a:cubicBezTo>
                    <a:pt x="159765" y="139100"/>
                    <a:pt x="161125" y="139015"/>
                    <a:pt x="162462" y="138851"/>
                  </a:cubicBezTo>
                  <a:cubicBezTo>
                    <a:pt x="165936" y="138421"/>
                    <a:pt x="167951" y="135974"/>
                    <a:pt x="167828" y="133948"/>
                  </a:cubicBezTo>
                  <a:cubicBezTo>
                    <a:pt x="167746" y="132633"/>
                    <a:pt x="166772" y="131879"/>
                    <a:pt x="165149" y="131879"/>
                  </a:cubicBezTo>
                  <a:lnTo>
                    <a:pt x="164685" y="131883"/>
                  </a:lnTo>
                  <a:cubicBezTo>
                    <a:pt x="150401" y="131883"/>
                    <a:pt x="147470" y="117668"/>
                    <a:pt x="143409" y="97997"/>
                  </a:cubicBezTo>
                  <a:lnTo>
                    <a:pt x="142988" y="95971"/>
                  </a:lnTo>
                  <a:cubicBezTo>
                    <a:pt x="141618" y="89327"/>
                    <a:pt x="136853" y="84316"/>
                    <a:pt x="129207" y="81475"/>
                  </a:cubicBezTo>
                  <a:cubicBezTo>
                    <a:pt x="127090" y="80691"/>
                    <a:pt x="125196" y="80307"/>
                    <a:pt x="123410" y="80307"/>
                  </a:cubicBezTo>
                  <a:cubicBezTo>
                    <a:pt x="119476" y="80307"/>
                    <a:pt x="116796" y="82231"/>
                    <a:pt x="114202" y="84091"/>
                  </a:cubicBezTo>
                  <a:cubicBezTo>
                    <a:pt x="106864" y="89344"/>
                    <a:pt x="96632" y="99887"/>
                    <a:pt x="88409" y="108361"/>
                  </a:cubicBezTo>
                  <a:cubicBezTo>
                    <a:pt x="80788" y="116212"/>
                    <a:pt x="77065" y="120001"/>
                    <a:pt x="75633" y="120334"/>
                  </a:cubicBezTo>
                  <a:lnTo>
                    <a:pt x="74535" y="120586"/>
                  </a:lnTo>
                  <a:lnTo>
                    <a:pt x="74710" y="119472"/>
                  </a:lnTo>
                  <a:cubicBezTo>
                    <a:pt x="75941" y="111536"/>
                    <a:pt x="80359" y="93306"/>
                    <a:pt x="86951" y="78153"/>
                  </a:cubicBezTo>
                  <a:cubicBezTo>
                    <a:pt x="87830" y="76144"/>
                    <a:pt x="87912" y="74231"/>
                    <a:pt x="87202" y="72457"/>
                  </a:cubicBezTo>
                  <a:cubicBezTo>
                    <a:pt x="86160" y="69867"/>
                    <a:pt x="83443" y="67597"/>
                    <a:pt x="79350" y="65889"/>
                  </a:cubicBezTo>
                  <a:cubicBezTo>
                    <a:pt x="76646" y="64765"/>
                    <a:pt x="74287" y="64197"/>
                    <a:pt x="72336" y="64197"/>
                  </a:cubicBezTo>
                  <a:close/>
                  <a:moveTo>
                    <a:pt x="559596" y="108886"/>
                  </a:moveTo>
                  <a:lnTo>
                    <a:pt x="559669" y="110564"/>
                  </a:lnTo>
                  <a:cubicBezTo>
                    <a:pt x="560479" y="129228"/>
                    <a:pt x="573199" y="138581"/>
                    <a:pt x="579232" y="140188"/>
                  </a:cubicBezTo>
                  <a:cubicBezTo>
                    <a:pt x="582777" y="141137"/>
                    <a:pt x="585738" y="140666"/>
                    <a:pt x="586615" y="139108"/>
                  </a:cubicBezTo>
                  <a:cubicBezTo>
                    <a:pt x="587062" y="138324"/>
                    <a:pt x="586950" y="137285"/>
                    <a:pt x="586300" y="136184"/>
                  </a:cubicBezTo>
                  <a:cubicBezTo>
                    <a:pt x="577878" y="121917"/>
                    <a:pt x="583034" y="95183"/>
                    <a:pt x="583645" y="92178"/>
                  </a:cubicBezTo>
                  <a:cubicBezTo>
                    <a:pt x="585503" y="83128"/>
                    <a:pt x="580764" y="80218"/>
                    <a:pt x="575740" y="77136"/>
                  </a:cubicBezTo>
                  <a:lnTo>
                    <a:pt x="575508" y="76995"/>
                  </a:lnTo>
                  <a:cubicBezTo>
                    <a:pt x="573189" y="75570"/>
                    <a:pt x="570767" y="74786"/>
                    <a:pt x="568687" y="74786"/>
                  </a:cubicBezTo>
                  <a:cubicBezTo>
                    <a:pt x="567156" y="74786"/>
                    <a:pt x="565138" y="75213"/>
                    <a:pt x="564259" y="77255"/>
                  </a:cubicBezTo>
                  <a:cubicBezTo>
                    <a:pt x="557293" y="93450"/>
                    <a:pt x="534883" y="117348"/>
                    <a:pt x="523986" y="117348"/>
                  </a:cubicBezTo>
                  <a:cubicBezTo>
                    <a:pt x="520748" y="117348"/>
                    <a:pt x="518364" y="116171"/>
                    <a:pt x="516890" y="113854"/>
                  </a:cubicBezTo>
                  <a:cubicBezTo>
                    <a:pt x="513205" y="108052"/>
                    <a:pt x="516389" y="96412"/>
                    <a:pt x="520595" y="87450"/>
                  </a:cubicBezTo>
                  <a:cubicBezTo>
                    <a:pt x="523327" y="81629"/>
                    <a:pt x="521861" y="77954"/>
                    <a:pt x="515357" y="74352"/>
                  </a:cubicBezTo>
                  <a:cubicBezTo>
                    <a:pt x="512175" y="72589"/>
                    <a:pt x="509153" y="71654"/>
                    <a:pt x="506617" y="71654"/>
                  </a:cubicBezTo>
                  <a:cubicBezTo>
                    <a:pt x="503377" y="71654"/>
                    <a:pt x="501073" y="73112"/>
                    <a:pt x="499775" y="75993"/>
                  </a:cubicBezTo>
                  <a:cubicBezTo>
                    <a:pt x="497818" y="80324"/>
                    <a:pt x="493908" y="91288"/>
                    <a:pt x="491659" y="104933"/>
                  </a:cubicBezTo>
                  <a:cubicBezTo>
                    <a:pt x="490644" y="111097"/>
                    <a:pt x="492731" y="117606"/>
                    <a:pt x="497539" y="123271"/>
                  </a:cubicBezTo>
                  <a:cubicBezTo>
                    <a:pt x="503224" y="129967"/>
                    <a:pt x="511829" y="134466"/>
                    <a:pt x="518955" y="134466"/>
                  </a:cubicBezTo>
                  <a:cubicBezTo>
                    <a:pt x="528282" y="134466"/>
                    <a:pt x="541180" y="126479"/>
                    <a:pt x="558384" y="110046"/>
                  </a:cubicBezTo>
                  <a:lnTo>
                    <a:pt x="559596" y="108886"/>
                  </a:lnTo>
                  <a:close/>
                  <a:moveTo>
                    <a:pt x="619622" y="71714"/>
                  </a:moveTo>
                  <a:cubicBezTo>
                    <a:pt x="615399" y="71714"/>
                    <a:pt x="612809" y="74701"/>
                    <a:pt x="610961" y="81704"/>
                  </a:cubicBezTo>
                  <a:cubicBezTo>
                    <a:pt x="605863" y="101023"/>
                    <a:pt x="606649" y="118053"/>
                    <a:pt x="613129" y="128427"/>
                  </a:cubicBezTo>
                  <a:cubicBezTo>
                    <a:pt x="616475" y="133784"/>
                    <a:pt x="621095" y="137082"/>
                    <a:pt x="626860" y="138227"/>
                  </a:cubicBezTo>
                  <a:cubicBezTo>
                    <a:pt x="630135" y="138879"/>
                    <a:pt x="632805" y="138365"/>
                    <a:pt x="633695" y="136979"/>
                  </a:cubicBezTo>
                  <a:cubicBezTo>
                    <a:pt x="634230" y="136143"/>
                    <a:pt x="634006" y="135220"/>
                    <a:pt x="633720" y="134594"/>
                  </a:cubicBezTo>
                  <a:cubicBezTo>
                    <a:pt x="628847" y="123863"/>
                    <a:pt x="627439" y="104959"/>
                    <a:pt x="634168" y="89584"/>
                  </a:cubicBezTo>
                  <a:cubicBezTo>
                    <a:pt x="637572" y="81806"/>
                    <a:pt x="635915" y="77604"/>
                    <a:pt x="628037" y="74060"/>
                  </a:cubicBezTo>
                  <a:cubicBezTo>
                    <a:pt x="624530" y="72479"/>
                    <a:pt x="621778" y="71714"/>
                    <a:pt x="619622" y="71714"/>
                  </a:cubicBezTo>
                  <a:close/>
                  <a:moveTo>
                    <a:pt x="972156" y="129924"/>
                  </a:moveTo>
                  <a:cubicBezTo>
                    <a:pt x="967795" y="129924"/>
                    <a:pt x="964015" y="128246"/>
                    <a:pt x="961513" y="125202"/>
                  </a:cubicBezTo>
                  <a:cubicBezTo>
                    <a:pt x="958863" y="121988"/>
                    <a:pt x="957867" y="117532"/>
                    <a:pt x="958762" y="112970"/>
                  </a:cubicBezTo>
                  <a:cubicBezTo>
                    <a:pt x="960317" y="105054"/>
                    <a:pt x="969678" y="95375"/>
                    <a:pt x="978392" y="95375"/>
                  </a:cubicBezTo>
                  <a:cubicBezTo>
                    <a:pt x="982098" y="95375"/>
                    <a:pt x="985342" y="96764"/>
                    <a:pt x="987783" y="99384"/>
                  </a:cubicBezTo>
                  <a:cubicBezTo>
                    <a:pt x="991021" y="102861"/>
                    <a:pt x="992248" y="107799"/>
                    <a:pt x="992026" y="110912"/>
                  </a:cubicBezTo>
                  <a:cubicBezTo>
                    <a:pt x="991280" y="121042"/>
                    <a:pt x="981992" y="129924"/>
                    <a:pt x="972156" y="129924"/>
                  </a:cubicBezTo>
                  <a:close/>
                  <a:moveTo>
                    <a:pt x="197152" y="119748"/>
                  </a:moveTo>
                  <a:cubicBezTo>
                    <a:pt x="195467" y="119748"/>
                    <a:pt x="194547" y="118990"/>
                    <a:pt x="194076" y="118357"/>
                  </a:cubicBezTo>
                  <a:cubicBezTo>
                    <a:pt x="193154" y="117119"/>
                    <a:pt x="193016" y="115204"/>
                    <a:pt x="193685" y="112955"/>
                  </a:cubicBezTo>
                  <a:cubicBezTo>
                    <a:pt x="195811" y="105849"/>
                    <a:pt x="211250" y="82968"/>
                    <a:pt x="218480" y="82968"/>
                  </a:cubicBezTo>
                  <a:cubicBezTo>
                    <a:pt x="220456" y="82968"/>
                    <a:pt x="222316" y="84061"/>
                    <a:pt x="223584" y="85962"/>
                  </a:cubicBezTo>
                  <a:cubicBezTo>
                    <a:pt x="225405" y="88690"/>
                    <a:pt x="225668" y="92465"/>
                    <a:pt x="224273" y="95822"/>
                  </a:cubicBezTo>
                  <a:cubicBezTo>
                    <a:pt x="219774" y="106659"/>
                    <a:pt x="206673" y="119748"/>
                    <a:pt x="197152" y="119748"/>
                  </a:cubicBezTo>
                  <a:close/>
                  <a:moveTo>
                    <a:pt x="1363738" y="108089"/>
                  </a:moveTo>
                  <a:lnTo>
                    <a:pt x="1363649" y="107292"/>
                  </a:lnTo>
                  <a:cubicBezTo>
                    <a:pt x="1362554" y="97103"/>
                    <a:pt x="1369838" y="90850"/>
                    <a:pt x="1377013" y="88389"/>
                  </a:cubicBezTo>
                  <a:cubicBezTo>
                    <a:pt x="1378182" y="87990"/>
                    <a:pt x="1379381" y="87789"/>
                    <a:pt x="1380586" y="87789"/>
                  </a:cubicBezTo>
                  <a:cubicBezTo>
                    <a:pt x="1383763" y="87789"/>
                    <a:pt x="1386426" y="89180"/>
                    <a:pt x="1387537" y="91416"/>
                  </a:cubicBezTo>
                  <a:cubicBezTo>
                    <a:pt x="1388563" y="93480"/>
                    <a:pt x="1388103" y="95969"/>
                    <a:pt x="1386241" y="98420"/>
                  </a:cubicBezTo>
                  <a:cubicBezTo>
                    <a:pt x="1381731" y="104365"/>
                    <a:pt x="1370704" y="106950"/>
                    <a:pt x="1364526" y="107961"/>
                  </a:cubicBezTo>
                  <a:lnTo>
                    <a:pt x="1363738" y="108089"/>
                  </a:lnTo>
                  <a:close/>
                  <a:moveTo>
                    <a:pt x="304292" y="99125"/>
                  </a:moveTo>
                  <a:lnTo>
                    <a:pt x="304627" y="97563"/>
                  </a:lnTo>
                  <a:cubicBezTo>
                    <a:pt x="306871" y="87072"/>
                    <a:pt x="312319" y="78920"/>
                    <a:pt x="319961" y="74613"/>
                  </a:cubicBezTo>
                  <a:cubicBezTo>
                    <a:pt x="321112" y="73963"/>
                    <a:pt x="322443" y="73621"/>
                    <a:pt x="323812" y="73621"/>
                  </a:cubicBezTo>
                  <a:cubicBezTo>
                    <a:pt x="326562" y="73621"/>
                    <a:pt x="328947" y="74997"/>
                    <a:pt x="329750" y="77047"/>
                  </a:cubicBezTo>
                  <a:cubicBezTo>
                    <a:pt x="330284" y="78410"/>
                    <a:pt x="330564" y="81257"/>
                    <a:pt x="326480" y="85028"/>
                  </a:cubicBezTo>
                  <a:cubicBezTo>
                    <a:pt x="321836" y="89322"/>
                    <a:pt x="315047" y="93694"/>
                    <a:pt x="305716" y="98405"/>
                  </a:cubicBezTo>
                  <a:lnTo>
                    <a:pt x="304292" y="99125"/>
                  </a:lnTo>
                  <a:close/>
                  <a:moveTo>
                    <a:pt x="1261641" y="19896"/>
                  </a:moveTo>
                  <a:cubicBezTo>
                    <a:pt x="1259349" y="19896"/>
                    <a:pt x="1257520" y="20507"/>
                    <a:pt x="1256744" y="21537"/>
                  </a:cubicBezTo>
                  <a:cubicBezTo>
                    <a:pt x="1255219" y="23546"/>
                    <a:pt x="1256068" y="26313"/>
                    <a:pt x="1257043" y="28283"/>
                  </a:cubicBezTo>
                  <a:cubicBezTo>
                    <a:pt x="1260695" y="35618"/>
                    <a:pt x="1271361" y="43377"/>
                    <a:pt x="1277789" y="43377"/>
                  </a:cubicBezTo>
                  <a:cubicBezTo>
                    <a:pt x="1279656" y="43377"/>
                    <a:pt x="1281064" y="42727"/>
                    <a:pt x="1281971" y="41444"/>
                  </a:cubicBezTo>
                  <a:cubicBezTo>
                    <a:pt x="1283855" y="38794"/>
                    <a:pt x="1281749" y="30298"/>
                    <a:pt x="1275811" y="25605"/>
                  </a:cubicBezTo>
                  <a:cubicBezTo>
                    <a:pt x="1271212" y="21976"/>
                    <a:pt x="1266047" y="19896"/>
                    <a:pt x="1261641" y="19896"/>
                  </a:cubicBezTo>
                  <a:close/>
                  <a:moveTo>
                    <a:pt x="625925" y="19326"/>
                  </a:moveTo>
                  <a:cubicBezTo>
                    <a:pt x="624262" y="19326"/>
                    <a:pt x="622977" y="19896"/>
                    <a:pt x="622106" y="21021"/>
                  </a:cubicBezTo>
                  <a:cubicBezTo>
                    <a:pt x="620484" y="23123"/>
                    <a:pt x="620357" y="25605"/>
                    <a:pt x="621730" y="28400"/>
                  </a:cubicBezTo>
                  <a:cubicBezTo>
                    <a:pt x="624789" y="34618"/>
                    <a:pt x="634734" y="40722"/>
                    <a:pt x="641816" y="40722"/>
                  </a:cubicBezTo>
                  <a:cubicBezTo>
                    <a:pt x="644300" y="40722"/>
                    <a:pt x="646149" y="39977"/>
                    <a:pt x="647305" y="38517"/>
                  </a:cubicBezTo>
                  <a:cubicBezTo>
                    <a:pt x="648065" y="37560"/>
                    <a:pt x="647398" y="35804"/>
                    <a:pt x="646929" y="34841"/>
                  </a:cubicBezTo>
                  <a:cubicBezTo>
                    <a:pt x="643797" y="28352"/>
                    <a:pt x="632621" y="19326"/>
                    <a:pt x="625925" y="19326"/>
                  </a:cubicBezTo>
                  <a:close/>
                </a:path>
              </a:pathLst>
            </a:custGeom>
            <a:solidFill>
              <a:schemeClr val="tx1"/>
            </a:solidFill>
            <a:ln w="215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sz="1799"/>
            </a:p>
          </p:txBody>
        </p:sp>
        <p:grpSp>
          <p:nvGrpSpPr>
            <p:cNvPr id="53" name="Graphic 77">
              <a:extLst>
                <a:ext uri="{FF2B5EF4-FFF2-40B4-BE49-F238E27FC236}">
                  <a16:creationId xmlns:a16="http://schemas.microsoft.com/office/drawing/2014/main" id="{8880571E-FCAF-498C-B315-DBAB340B0A42}"/>
                </a:ext>
              </a:extLst>
            </p:cNvPr>
            <p:cNvGrpSpPr/>
            <p:nvPr/>
          </p:nvGrpSpPr>
          <p:grpSpPr>
            <a:xfrm>
              <a:off x="9781403" y="552320"/>
              <a:ext cx="1481839" cy="234163"/>
              <a:chOff x="9781403" y="552320"/>
              <a:chExt cx="1481839" cy="234163"/>
            </a:xfrm>
            <a:solidFill>
              <a:schemeClr val="tx1"/>
            </a:solidFill>
          </p:grpSpPr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1413F3B3-D131-4309-BAD6-639580946C0B}"/>
                  </a:ext>
                </a:extLst>
              </p:cNvPr>
              <p:cNvSpPr/>
              <p:nvPr/>
            </p:nvSpPr>
            <p:spPr>
              <a:xfrm>
                <a:off x="9781403" y="552320"/>
                <a:ext cx="173430" cy="234163"/>
              </a:xfrm>
              <a:custGeom>
                <a:avLst/>
                <a:gdLst>
                  <a:gd name="connsiteX0" fmla="*/ 4575 w 173430"/>
                  <a:gd name="connsiteY0" fmla="*/ 225949 h 234163"/>
                  <a:gd name="connsiteX1" fmla="*/ 4575 w 173430"/>
                  <a:gd name="connsiteY1" fmla="*/ 181380 h 234163"/>
                  <a:gd name="connsiteX2" fmla="*/ 71915 w 173430"/>
                  <a:gd name="connsiteY2" fmla="*/ 193357 h 234163"/>
                  <a:gd name="connsiteX3" fmla="*/ 112357 w 173430"/>
                  <a:gd name="connsiteY3" fmla="*/ 171988 h 234163"/>
                  <a:gd name="connsiteX4" fmla="*/ 106462 w 173430"/>
                  <a:gd name="connsiteY4" fmla="*/ 158604 h 234163"/>
                  <a:gd name="connsiteX5" fmla="*/ 75587 w 173430"/>
                  <a:gd name="connsiteY5" fmla="*/ 142653 h 234163"/>
                  <a:gd name="connsiteX6" fmla="*/ 17513 w 173430"/>
                  <a:gd name="connsiteY6" fmla="*/ 111415 h 234163"/>
                  <a:gd name="connsiteX7" fmla="*/ 0 w 173430"/>
                  <a:gd name="connsiteY7" fmla="*/ 68377 h 234163"/>
                  <a:gd name="connsiteX8" fmla="*/ 25505 w 173430"/>
                  <a:gd name="connsiteY8" fmla="*/ 17371 h 234163"/>
                  <a:gd name="connsiteX9" fmla="*/ 91212 w 173430"/>
                  <a:gd name="connsiteY9" fmla="*/ 0 h 234163"/>
                  <a:gd name="connsiteX10" fmla="*/ 155796 w 173430"/>
                  <a:gd name="connsiteY10" fmla="*/ 8223 h 234163"/>
                  <a:gd name="connsiteX11" fmla="*/ 155796 w 173430"/>
                  <a:gd name="connsiteY11" fmla="*/ 51097 h 234163"/>
                  <a:gd name="connsiteX12" fmla="*/ 97407 w 173430"/>
                  <a:gd name="connsiteY12" fmla="*/ 38547 h 234163"/>
                  <a:gd name="connsiteX13" fmla="*/ 59441 w 173430"/>
                  <a:gd name="connsiteY13" fmla="*/ 59428 h 234163"/>
                  <a:gd name="connsiteX14" fmla="*/ 67094 w 173430"/>
                  <a:gd name="connsiteY14" fmla="*/ 72174 h 234163"/>
                  <a:gd name="connsiteX15" fmla="*/ 102162 w 173430"/>
                  <a:gd name="connsiteY15" fmla="*/ 89076 h 234163"/>
                  <a:gd name="connsiteX16" fmla="*/ 157164 w 173430"/>
                  <a:gd name="connsiteY16" fmla="*/ 120979 h 234163"/>
                  <a:gd name="connsiteX17" fmla="*/ 173431 w 173430"/>
                  <a:gd name="connsiteY17" fmla="*/ 162596 h 234163"/>
                  <a:gd name="connsiteX18" fmla="*/ 141540 w 173430"/>
                  <a:gd name="connsiteY18" fmla="*/ 218551 h 234163"/>
                  <a:gd name="connsiteX19" fmla="*/ 74563 w 173430"/>
                  <a:gd name="connsiteY19" fmla="*/ 234163 h 234163"/>
                  <a:gd name="connsiteX20" fmla="*/ 4575 w 173430"/>
                  <a:gd name="connsiteY20" fmla="*/ 225949 h 234163"/>
                  <a:gd name="connsiteX21" fmla="*/ 4575 w 173430"/>
                  <a:gd name="connsiteY21" fmla="*/ 225949 h 23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73430" h="234163">
                    <a:moveTo>
                      <a:pt x="4575" y="225949"/>
                    </a:moveTo>
                    <a:lnTo>
                      <a:pt x="4575" y="181380"/>
                    </a:lnTo>
                    <a:cubicBezTo>
                      <a:pt x="29942" y="189363"/>
                      <a:pt x="52389" y="193357"/>
                      <a:pt x="71915" y="193357"/>
                    </a:cubicBezTo>
                    <a:cubicBezTo>
                      <a:pt x="98874" y="193357"/>
                      <a:pt x="112357" y="186231"/>
                      <a:pt x="112357" y="171988"/>
                    </a:cubicBezTo>
                    <a:cubicBezTo>
                      <a:pt x="112357" y="166679"/>
                      <a:pt x="110395" y="162218"/>
                      <a:pt x="106462" y="158604"/>
                    </a:cubicBezTo>
                    <a:cubicBezTo>
                      <a:pt x="102440" y="154773"/>
                      <a:pt x="92141" y="149459"/>
                      <a:pt x="75587" y="142653"/>
                    </a:cubicBezTo>
                    <a:cubicBezTo>
                      <a:pt x="45887" y="130442"/>
                      <a:pt x="26523" y="120027"/>
                      <a:pt x="17513" y="111415"/>
                    </a:cubicBezTo>
                    <a:cubicBezTo>
                      <a:pt x="5838" y="100045"/>
                      <a:pt x="0" y="85704"/>
                      <a:pt x="0" y="68377"/>
                    </a:cubicBezTo>
                    <a:cubicBezTo>
                      <a:pt x="0" y="46064"/>
                      <a:pt x="8506" y="29056"/>
                      <a:pt x="25505" y="17371"/>
                    </a:cubicBezTo>
                    <a:cubicBezTo>
                      <a:pt x="42317" y="5784"/>
                      <a:pt x="64208" y="0"/>
                      <a:pt x="91212" y="0"/>
                    </a:cubicBezTo>
                    <a:cubicBezTo>
                      <a:pt x="106091" y="0"/>
                      <a:pt x="127626" y="2739"/>
                      <a:pt x="155796" y="8223"/>
                    </a:cubicBezTo>
                    <a:lnTo>
                      <a:pt x="155796" y="51097"/>
                    </a:lnTo>
                    <a:cubicBezTo>
                      <a:pt x="134838" y="42725"/>
                      <a:pt x="115383" y="38547"/>
                      <a:pt x="97407" y="38547"/>
                    </a:cubicBezTo>
                    <a:cubicBezTo>
                      <a:pt x="72096" y="38547"/>
                      <a:pt x="59441" y="45498"/>
                      <a:pt x="59441" y="59428"/>
                    </a:cubicBezTo>
                    <a:cubicBezTo>
                      <a:pt x="59441" y="64636"/>
                      <a:pt x="61990" y="68882"/>
                      <a:pt x="67094" y="72174"/>
                    </a:cubicBezTo>
                    <a:cubicBezTo>
                      <a:pt x="71338" y="74838"/>
                      <a:pt x="83037" y="80466"/>
                      <a:pt x="102162" y="89076"/>
                    </a:cubicBezTo>
                    <a:cubicBezTo>
                      <a:pt x="129699" y="101306"/>
                      <a:pt x="148029" y="111936"/>
                      <a:pt x="157164" y="120979"/>
                    </a:cubicBezTo>
                    <a:cubicBezTo>
                      <a:pt x="168003" y="131706"/>
                      <a:pt x="173431" y="145584"/>
                      <a:pt x="173431" y="162596"/>
                    </a:cubicBezTo>
                    <a:cubicBezTo>
                      <a:pt x="173431" y="187047"/>
                      <a:pt x="162797" y="205701"/>
                      <a:pt x="141540" y="218551"/>
                    </a:cubicBezTo>
                    <a:cubicBezTo>
                      <a:pt x="124321" y="228973"/>
                      <a:pt x="101989" y="234163"/>
                      <a:pt x="74563" y="234163"/>
                    </a:cubicBezTo>
                    <a:cubicBezTo>
                      <a:pt x="51406" y="234159"/>
                      <a:pt x="28071" y="231433"/>
                      <a:pt x="4575" y="225949"/>
                    </a:cubicBezTo>
                    <a:lnTo>
                      <a:pt x="4575" y="22594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9413E369-219C-44B1-B116-B10F9C5E55D0}"/>
                  </a:ext>
                </a:extLst>
              </p:cNvPr>
              <p:cNvSpPr/>
              <p:nvPr/>
            </p:nvSpPr>
            <p:spPr>
              <a:xfrm>
                <a:off x="9990437" y="556241"/>
                <a:ext cx="63037" cy="225678"/>
              </a:xfrm>
              <a:custGeom>
                <a:avLst/>
                <a:gdLst>
                  <a:gd name="connsiteX0" fmla="*/ 0 w 63037"/>
                  <a:gd name="connsiteY0" fmla="*/ 0 h 225678"/>
                  <a:gd name="connsiteX1" fmla="*/ 0 w 63037"/>
                  <a:gd name="connsiteY1" fmla="*/ 0 h 225678"/>
                  <a:gd name="connsiteX2" fmla="*/ 63037 w 63037"/>
                  <a:gd name="connsiteY2" fmla="*/ 0 h 225678"/>
                  <a:gd name="connsiteX3" fmla="*/ 63037 w 63037"/>
                  <a:gd name="connsiteY3" fmla="*/ 225679 h 225678"/>
                  <a:gd name="connsiteX4" fmla="*/ 0 w 63037"/>
                  <a:gd name="connsiteY4" fmla="*/ 225679 h 225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037" h="225678">
                    <a:moveTo>
                      <a:pt x="0" y="0"/>
                    </a:moveTo>
                    <a:lnTo>
                      <a:pt x="0" y="0"/>
                    </a:lnTo>
                    <a:lnTo>
                      <a:pt x="63037" y="0"/>
                    </a:lnTo>
                    <a:lnTo>
                      <a:pt x="63037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4917ED51-88A8-4DA0-8A49-26D64C46EA25}"/>
                  </a:ext>
                </a:extLst>
              </p:cNvPr>
              <p:cNvSpPr/>
              <p:nvPr/>
            </p:nvSpPr>
            <p:spPr>
              <a:xfrm>
                <a:off x="10111287" y="556241"/>
                <a:ext cx="164274" cy="225678"/>
              </a:xfrm>
              <a:custGeom>
                <a:avLst/>
                <a:gdLst>
                  <a:gd name="connsiteX0" fmla="*/ 0 w 164274"/>
                  <a:gd name="connsiteY0" fmla="*/ 225679 h 225678"/>
                  <a:gd name="connsiteX1" fmla="*/ 0 w 164274"/>
                  <a:gd name="connsiteY1" fmla="*/ 0 h 225678"/>
                  <a:gd name="connsiteX2" fmla="*/ 161674 w 164274"/>
                  <a:gd name="connsiteY2" fmla="*/ 0 h 225678"/>
                  <a:gd name="connsiteX3" fmla="*/ 161674 w 164274"/>
                  <a:gd name="connsiteY3" fmla="*/ 40820 h 225678"/>
                  <a:gd name="connsiteX4" fmla="*/ 60754 w 164274"/>
                  <a:gd name="connsiteY4" fmla="*/ 40820 h 225678"/>
                  <a:gd name="connsiteX5" fmla="*/ 60754 w 164274"/>
                  <a:gd name="connsiteY5" fmla="*/ 91778 h 225678"/>
                  <a:gd name="connsiteX6" fmla="*/ 148602 w 164274"/>
                  <a:gd name="connsiteY6" fmla="*/ 91778 h 225678"/>
                  <a:gd name="connsiteX7" fmla="*/ 148602 w 164274"/>
                  <a:gd name="connsiteY7" fmla="*/ 129010 h 225678"/>
                  <a:gd name="connsiteX8" fmla="*/ 60754 w 164274"/>
                  <a:gd name="connsiteY8" fmla="*/ 129010 h 225678"/>
                  <a:gd name="connsiteX9" fmla="*/ 60754 w 164274"/>
                  <a:gd name="connsiteY9" fmla="*/ 182568 h 225678"/>
                  <a:gd name="connsiteX10" fmla="*/ 164274 w 164274"/>
                  <a:gd name="connsiteY10" fmla="*/ 182568 h 225678"/>
                  <a:gd name="connsiteX11" fmla="*/ 164274 w 164274"/>
                  <a:gd name="connsiteY11" fmla="*/ 225679 h 225678"/>
                  <a:gd name="connsiteX12" fmla="*/ 0 w 164274"/>
                  <a:gd name="connsiteY12" fmla="*/ 225679 h 225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4274" h="225678">
                    <a:moveTo>
                      <a:pt x="0" y="225679"/>
                    </a:moveTo>
                    <a:lnTo>
                      <a:pt x="0" y="0"/>
                    </a:lnTo>
                    <a:lnTo>
                      <a:pt x="161674" y="0"/>
                    </a:lnTo>
                    <a:lnTo>
                      <a:pt x="161674" y="40820"/>
                    </a:lnTo>
                    <a:lnTo>
                      <a:pt x="60754" y="40820"/>
                    </a:lnTo>
                    <a:lnTo>
                      <a:pt x="60754" y="91778"/>
                    </a:lnTo>
                    <a:lnTo>
                      <a:pt x="148602" y="91778"/>
                    </a:lnTo>
                    <a:lnTo>
                      <a:pt x="148602" y="129010"/>
                    </a:lnTo>
                    <a:lnTo>
                      <a:pt x="60754" y="129010"/>
                    </a:lnTo>
                    <a:lnTo>
                      <a:pt x="60754" y="182568"/>
                    </a:lnTo>
                    <a:lnTo>
                      <a:pt x="164274" y="182568"/>
                    </a:lnTo>
                    <a:lnTo>
                      <a:pt x="164274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203E2669-B11C-40F3-B250-10F2A9361276}"/>
                  </a:ext>
                </a:extLst>
              </p:cNvPr>
              <p:cNvSpPr/>
              <p:nvPr/>
            </p:nvSpPr>
            <p:spPr>
              <a:xfrm>
                <a:off x="10316714" y="556241"/>
                <a:ext cx="274352" cy="227970"/>
              </a:xfrm>
              <a:custGeom>
                <a:avLst/>
                <a:gdLst>
                  <a:gd name="connsiteX0" fmla="*/ 0 w 274352"/>
                  <a:gd name="connsiteY0" fmla="*/ 225679 h 227970"/>
                  <a:gd name="connsiteX1" fmla="*/ 0 w 274352"/>
                  <a:gd name="connsiteY1" fmla="*/ 0 h 227970"/>
                  <a:gd name="connsiteX2" fmla="*/ 81732 w 274352"/>
                  <a:gd name="connsiteY2" fmla="*/ 0 h 227970"/>
                  <a:gd name="connsiteX3" fmla="*/ 138514 w 274352"/>
                  <a:gd name="connsiteY3" fmla="*/ 144199 h 227970"/>
                  <a:gd name="connsiteX4" fmla="*/ 196720 w 274352"/>
                  <a:gd name="connsiteY4" fmla="*/ 0 h 227970"/>
                  <a:gd name="connsiteX5" fmla="*/ 274352 w 274352"/>
                  <a:gd name="connsiteY5" fmla="*/ 0 h 227970"/>
                  <a:gd name="connsiteX6" fmla="*/ 274352 w 274352"/>
                  <a:gd name="connsiteY6" fmla="*/ 225679 h 227970"/>
                  <a:gd name="connsiteX7" fmla="*/ 214583 w 274352"/>
                  <a:gd name="connsiteY7" fmla="*/ 225679 h 227970"/>
                  <a:gd name="connsiteX8" fmla="*/ 214583 w 274352"/>
                  <a:gd name="connsiteY8" fmla="*/ 65893 h 227970"/>
                  <a:gd name="connsiteX9" fmla="*/ 148401 w 274352"/>
                  <a:gd name="connsiteY9" fmla="*/ 227971 h 227970"/>
                  <a:gd name="connsiteX10" fmla="*/ 109324 w 274352"/>
                  <a:gd name="connsiteY10" fmla="*/ 227971 h 227970"/>
                  <a:gd name="connsiteX11" fmla="*/ 44414 w 274352"/>
                  <a:gd name="connsiteY11" fmla="*/ 65893 h 227970"/>
                  <a:gd name="connsiteX12" fmla="*/ 44414 w 274352"/>
                  <a:gd name="connsiteY12" fmla="*/ 225679 h 227970"/>
                  <a:gd name="connsiteX13" fmla="*/ 0 w 274352"/>
                  <a:gd name="connsiteY13" fmla="*/ 225679 h 227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4352" h="227970">
                    <a:moveTo>
                      <a:pt x="0" y="225679"/>
                    </a:moveTo>
                    <a:lnTo>
                      <a:pt x="0" y="0"/>
                    </a:lnTo>
                    <a:lnTo>
                      <a:pt x="81732" y="0"/>
                    </a:lnTo>
                    <a:lnTo>
                      <a:pt x="138514" y="144199"/>
                    </a:lnTo>
                    <a:lnTo>
                      <a:pt x="196720" y="0"/>
                    </a:lnTo>
                    <a:lnTo>
                      <a:pt x="274352" y="0"/>
                    </a:lnTo>
                    <a:lnTo>
                      <a:pt x="274352" y="225679"/>
                    </a:lnTo>
                    <a:lnTo>
                      <a:pt x="214583" y="225679"/>
                    </a:lnTo>
                    <a:lnTo>
                      <a:pt x="214583" y="65893"/>
                    </a:lnTo>
                    <a:lnTo>
                      <a:pt x="148401" y="227971"/>
                    </a:lnTo>
                    <a:lnTo>
                      <a:pt x="109324" y="227971"/>
                    </a:lnTo>
                    <a:lnTo>
                      <a:pt x="44414" y="65893"/>
                    </a:lnTo>
                    <a:lnTo>
                      <a:pt x="44414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58" name="Freihandform: Form 57">
                <a:extLst>
                  <a:ext uri="{FF2B5EF4-FFF2-40B4-BE49-F238E27FC236}">
                    <a16:creationId xmlns:a16="http://schemas.microsoft.com/office/drawing/2014/main" id="{19047710-78CB-43A6-B52A-6414B5F0B163}"/>
                  </a:ext>
                </a:extLst>
              </p:cNvPr>
              <p:cNvSpPr/>
              <p:nvPr/>
            </p:nvSpPr>
            <p:spPr>
              <a:xfrm>
                <a:off x="10648889" y="556241"/>
                <a:ext cx="164291" cy="225678"/>
              </a:xfrm>
              <a:custGeom>
                <a:avLst/>
                <a:gdLst>
                  <a:gd name="connsiteX0" fmla="*/ 0 w 164291"/>
                  <a:gd name="connsiteY0" fmla="*/ 225679 h 225678"/>
                  <a:gd name="connsiteX1" fmla="*/ 0 w 164291"/>
                  <a:gd name="connsiteY1" fmla="*/ 0 h 225678"/>
                  <a:gd name="connsiteX2" fmla="*/ 161674 w 164291"/>
                  <a:gd name="connsiteY2" fmla="*/ 0 h 225678"/>
                  <a:gd name="connsiteX3" fmla="*/ 161674 w 164291"/>
                  <a:gd name="connsiteY3" fmla="*/ 40820 h 225678"/>
                  <a:gd name="connsiteX4" fmla="*/ 60761 w 164291"/>
                  <a:gd name="connsiteY4" fmla="*/ 40820 h 225678"/>
                  <a:gd name="connsiteX5" fmla="*/ 60761 w 164291"/>
                  <a:gd name="connsiteY5" fmla="*/ 91778 h 225678"/>
                  <a:gd name="connsiteX6" fmla="*/ 148606 w 164291"/>
                  <a:gd name="connsiteY6" fmla="*/ 91778 h 225678"/>
                  <a:gd name="connsiteX7" fmla="*/ 148606 w 164291"/>
                  <a:gd name="connsiteY7" fmla="*/ 129010 h 225678"/>
                  <a:gd name="connsiteX8" fmla="*/ 60761 w 164291"/>
                  <a:gd name="connsiteY8" fmla="*/ 129010 h 225678"/>
                  <a:gd name="connsiteX9" fmla="*/ 60761 w 164291"/>
                  <a:gd name="connsiteY9" fmla="*/ 182568 h 225678"/>
                  <a:gd name="connsiteX10" fmla="*/ 164292 w 164291"/>
                  <a:gd name="connsiteY10" fmla="*/ 182568 h 225678"/>
                  <a:gd name="connsiteX11" fmla="*/ 164292 w 164291"/>
                  <a:gd name="connsiteY11" fmla="*/ 225679 h 225678"/>
                  <a:gd name="connsiteX12" fmla="*/ 0 w 164291"/>
                  <a:gd name="connsiteY12" fmla="*/ 225679 h 225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4291" h="225678">
                    <a:moveTo>
                      <a:pt x="0" y="225679"/>
                    </a:moveTo>
                    <a:lnTo>
                      <a:pt x="0" y="0"/>
                    </a:lnTo>
                    <a:lnTo>
                      <a:pt x="161674" y="0"/>
                    </a:lnTo>
                    <a:lnTo>
                      <a:pt x="161674" y="40820"/>
                    </a:lnTo>
                    <a:lnTo>
                      <a:pt x="60761" y="40820"/>
                    </a:lnTo>
                    <a:lnTo>
                      <a:pt x="60761" y="91778"/>
                    </a:lnTo>
                    <a:lnTo>
                      <a:pt x="148606" y="91778"/>
                    </a:lnTo>
                    <a:lnTo>
                      <a:pt x="148606" y="129010"/>
                    </a:lnTo>
                    <a:lnTo>
                      <a:pt x="60761" y="129010"/>
                    </a:lnTo>
                    <a:lnTo>
                      <a:pt x="60761" y="182568"/>
                    </a:lnTo>
                    <a:lnTo>
                      <a:pt x="164292" y="182568"/>
                    </a:lnTo>
                    <a:lnTo>
                      <a:pt x="164292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59" name="Freihandform: Form 58">
                <a:extLst>
                  <a:ext uri="{FF2B5EF4-FFF2-40B4-BE49-F238E27FC236}">
                    <a16:creationId xmlns:a16="http://schemas.microsoft.com/office/drawing/2014/main" id="{929AB83B-52F2-49CC-83EF-016B638303E2}"/>
                  </a:ext>
                </a:extLst>
              </p:cNvPr>
              <p:cNvSpPr/>
              <p:nvPr/>
            </p:nvSpPr>
            <p:spPr>
              <a:xfrm>
                <a:off x="10854660" y="556241"/>
                <a:ext cx="194974" cy="225678"/>
              </a:xfrm>
              <a:custGeom>
                <a:avLst/>
                <a:gdLst>
                  <a:gd name="connsiteX0" fmla="*/ 0 w 194974"/>
                  <a:gd name="connsiteY0" fmla="*/ 225679 h 225678"/>
                  <a:gd name="connsiteX1" fmla="*/ 0 w 194974"/>
                  <a:gd name="connsiteY1" fmla="*/ 0 h 225678"/>
                  <a:gd name="connsiteX2" fmla="*/ 73060 w 194974"/>
                  <a:gd name="connsiteY2" fmla="*/ 0 h 225678"/>
                  <a:gd name="connsiteX3" fmla="*/ 150572 w 194974"/>
                  <a:gd name="connsiteY3" fmla="*/ 151075 h 225678"/>
                  <a:gd name="connsiteX4" fmla="*/ 150572 w 194974"/>
                  <a:gd name="connsiteY4" fmla="*/ 0 h 225678"/>
                  <a:gd name="connsiteX5" fmla="*/ 194975 w 194974"/>
                  <a:gd name="connsiteY5" fmla="*/ 0 h 225678"/>
                  <a:gd name="connsiteX6" fmla="*/ 194975 w 194974"/>
                  <a:gd name="connsiteY6" fmla="*/ 225679 h 225678"/>
                  <a:gd name="connsiteX7" fmla="*/ 123988 w 194974"/>
                  <a:gd name="connsiteY7" fmla="*/ 225679 h 225678"/>
                  <a:gd name="connsiteX8" fmla="*/ 44418 w 194974"/>
                  <a:gd name="connsiteY8" fmla="*/ 72572 h 225678"/>
                  <a:gd name="connsiteX9" fmla="*/ 44418 w 194974"/>
                  <a:gd name="connsiteY9" fmla="*/ 225679 h 225678"/>
                  <a:gd name="connsiteX10" fmla="*/ 0 w 194974"/>
                  <a:gd name="connsiteY10" fmla="*/ 225679 h 225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4974" h="225678">
                    <a:moveTo>
                      <a:pt x="0" y="225679"/>
                    </a:moveTo>
                    <a:lnTo>
                      <a:pt x="0" y="0"/>
                    </a:lnTo>
                    <a:lnTo>
                      <a:pt x="73060" y="0"/>
                    </a:lnTo>
                    <a:lnTo>
                      <a:pt x="150572" y="151075"/>
                    </a:lnTo>
                    <a:lnTo>
                      <a:pt x="150572" y="0"/>
                    </a:lnTo>
                    <a:lnTo>
                      <a:pt x="194975" y="0"/>
                    </a:lnTo>
                    <a:lnTo>
                      <a:pt x="194975" y="225679"/>
                    </a:lnTo>
                    <a:lnTo>
                      <a:pt x="123988" y="225679"/>
                    </a:lnTo>
                    <a:lnTo>
                      <a:pt x="44418" y="72572"/>
                    </a:lnTo>
                    <a:lnTo>
                      <a:pt x="44418" y="225679"/>
                    </a:lnTo>
                    <a:lnTo>
                      <a:pt x="0" y="22567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  <p:sp>
            <p:nvSpPr>
              <p:cNvPr id="60" name="Freihandform: Form 59">
                <a:extLst>
                  <a:ext uri="{FF2B5EF4-FFF2-40B4-BE49-F238E27FC236}">
                    <a16:creationId xmlns:a16="http://schemas.microsoft.com/office/drawing/2014/main" id="{0DBBA6E7-0E5F-4F72-8DCA-72E28F904DAF}"/>
                  </a:ext>
                </a:extLst>
              </p:cNvPr>
              <p:cNvSpPr/>
              <p:nvPr/>
            </p:nvSpPr>
            <p:spPr>
              <a:xfrm>
                <a:off x="11089830" y="552320"/>
                <a:ext cx="173413" cy="234163"/>
              </a:xfrm>
              <a:custGeom>
                <a:avLst/>
                <a:gdLst>
                  <a:gd name="connsiteX0" fmla="*/ 4555 w 173413"/>
                  <a:gd name="connsiteY0" fmla="*/ 225949 h 234163"/>
                  <a:gd name="connsiteX1" fmla="*/ 4555 w 173413"/>
                  <a:gd name="connsiteY1" fmla="*/ 181380 h 234163"/>
                  <a:gd name="connsiteX2" fmla="*/ 71909 w 173413"/>
                  <a:gd name="connsiteY2" fmla="*/ 193357 h 234163"/>
                  <a:gd name="connsiteX3" fmla="*/ 112337 w 173413"/>
                  <a:gd name="connsiteY3" fmla="*/ 171988 h 234163"/>
                  <a:gd name="connsiteX4" fmla="*/ 106622 w 173413"/>
                  <a:gd name="connsiteY4" fmla="*/ 158604 h 234163"/>
                  <a:gd name="connsiteX5" fmla="*/ 75585 w 173413"/>
                  <a:gd name="connsiteY5" fmla="*/ 142653 h 234163"/>
                  <a:gd name="connsiteX6" fmla="*/ 17496 w 173413"/>
                  <a:gd name="connsiteY6" fmla="*/ 111415 h 234163"/>
                  <a:gd name="connsiteX7" fmla="*/ 0 w 173413"/>
                  <a:gd name="connsiteY7" fmla="*/ 68226 h 234163"/>
                  <a:gd name="connsiteX8" fmla="*/ 25503 w 173413"/>
                  <a:gd name="connsiteY8" fmla="*/ 17371 h 234163"/>
                  <a:gd name="connsiteX9" fmla="*/ 91217 w 173413"/>
                  <a:gd name="connsiteY9" fmla="*/ 0 h 234163"/>
                  <a:gd name="connsiteX10" fmla="*/ 150206 w 173413"/>
                  <a:gd name="connsiteY10" fmla="*/ 7255 h 234163"/>
                  <a:gd name="connsiteX11" fmla="*/ 155781 w 173413"/>
                  <a:gd name="connsiteY11" fmla="*/ 8223 h 234163"/>
                  <a:gd name="connsiteX12" fmla="*/ 155781 w 173413"/>
                  <a:gd name="connsiteY12" fmla="*/ 51097 h 234163"/>
                  <a:gd name="connsiteX13" fmla="*/ 97237 w 173413"/>
                  <a:gd name="connsiteY13" fmla="*/ 38547 h 234163"/>
                  <a:gd name="connsiteX14" fmla="*/ 59443 w 173413"/>
                  <a:gd name="connsiteY14" fmla="*/ 59428 h 234163"/>
                  <a:gd name="connsiteX15" fmla="*/ 67070 w 173413"/>
                  <a:gd name="connsiteY15" fmla="*/ 72174 h 234163"/>
                  <a:gd name="connsiteX16" fmla="*/ 102304 w 173413"/>
                  <a:gd name="connsiteY16" fmla="*/ 89076 h 234163"/>
                  <a:gd name="connsiteX17" fmla="*/ 157140 w 173413"/>
                  <a:gd name="connsiteY17" fmla="*/ 120979 h 234163"/>
                  <a:gd name="connsiteX18" fmla="*/ 173414 w 173413"/>
                  <a:gd name="connsiteY18" fmla="*/ 162596 h 234163"/>
                  <a:gd name="connsiteX19" fmla="*/ 141690 w 173413"/>
                  <a:gd name="connsiteY19" fmla="*/ 218551 h 234163"/>
                  <a:gd name="connsiteX20" fmla="*/ 74561 w 173413"/>
                  <a:gd name="connsiteY20" fmla="*/ 234163 h 234163"/>
                  <a:gd name="connsiteX21" fmla="*/ 4555 w 173413"/>
                  <a:gd name="connsiteY21" fmla="*/ 225949 h 234163"/>
                  <a:gd name="connsiteX22" fmla="*/ 4555 w 173413"/>
                  <a:gd name="connsiteY22" fmla="*/ 225949 h 234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3413" h="234163">
                    <a:moveTo>
                      <a:pt x="4555" y="225949"/>
                    </a:moveTo>
                    <a:lnTo>
                      <a:pt x="4555" y="181380"/>
                    </a:lnTo>
                    <a:cubicBezTo>
                      <a:pt x="29709" y="189363"/>
                      <a:pt x="52151" y="193357"/>
                      <a:pt x="71909" y="193357"/>
                    </a:cubicBezTo>
                    <a:cubicBezTo>
                      <a:pt x="98868" y="193357"/>
                      <a:pt x="112337" y="186231"/>
                      <a:pt x="112337" y="171988"/>
                    </a:cubicBezTo>
                    <a:cubicBezTo>
                      <a:pt x="112337" y="166679"/>
                      <a:pt x="110426" y="162218"/>
                      <a:pt x="106622" y="158604"/>
                    </a:cubicBezTo>
                    <a:cubicBezTo>
                      <a:pt x="102581" y="154773"/>
                      <a:pt x="92238" y="149459"/>
                      <a:pt x="75585" y="142653"/>
                    </a:cubicBezTo>
                    <a:cubicBezTo>
                      <a:pt x="45976" y="130544"/>
                      <a:pt x="26590" y="120133"/>
                      <a:pt x="17496" y="111415"/>
                    </a:cubicBezTo>
                    <a:cubicBezTo>
                      <a:pt x="5828" y="100146"/>
                      <a:pt x="0" y="85754"/>
                      <a:pt x="0" y="68226"/>
                    </a:cubicBezTo>
                    <a:cubicBezTo>
                      <a:pt x="0" y="46008"/>
                      <a:pt x="8485" y="29058"/>
                      <a:pt x="25503" y="17371"/>
                    </a:cubicBezTo>
                    <a:cubicBezTo>
                      <a:pt x="42288" y="5784"/>
                      <a:pt x="64206" y="0"/>
                      <a:pt x="91217" y="0"/>
                    </a:cubicBezTo>
                    <a:cubicBezTo>
                      <a:pt x="106397" y="0"/>
                      <a:pt x="126075" y="2411"/>
                      <a:pt x="150206" y="7255"/>
                    </a:cubicBezTo>
                    <a:lnTo>
                      <a:pt x="155781" y="8223"/>
                    </a:lnTo>
                    <a:lnTo>
                      <a:pt x="155781" y="51097"/>
                    </a:lnTo>
                    <a:cubicBezTo>
                      <a:pt x="134819" y="42725"/>
                      <a:pt x="115307" y="38547"/>
                      <a:pt x="97237" y="38547"/>
                    </a:cubicBezTo>
                    <a:cubicBezTo>
                      <a:pt x="72019" y="38547"/>
                      <a:pt x="59443" y="45498"/>
                      <a:pt x="59443" y="59428"/>
                    </a:cubicBezTo>
                    <a:cubicBezTo>
                      <a:pt x="59443" y="64636"/>
                      <a:pt x="61981" y="68882"/>
                      <a:pt x="67070" y="72174"/>
                    </a:cubicBezTo>
                    <a:cubicBezTo>
                      <a:pt x="71118" y="74738"/>
                      <a:pt x="82862" y="80367"/>
                      <a:pt x="102304" y="89076"/>
                    </a:cubicBezTo>
                    <a:cubicBezTo>
                      <a:pt x="129635" y="101306"/>
                      <a:pt x="147928" y="111936"/>
                      <a:pt x="157140" y="120979"/>
                    </a:cubicBezTo>
                    <a:cubicBezTo>
                      <a:pt x="167996" y="131706"/>
                      <a:pt x="173414" y="145584"/>
                      <a:pt x="173414" y="162596"/>
                    </a:cubicBezTo>
                    <a:cubicBezTo>
                      <a:pt x="173414" y="187047"/>
                      <a:pt x="162838" y="205701"/>
                      <a:pt x="141690" y="218551"/>
                    </a:cubicBezTo>
                    <a:cubicBezTo>
                      <a:pt x="124366" y="228973"/>
                      <a:pt x="101982" y="234163"/>
                      <a:pt x="74561" y="234163"/>
                    </a:cubicBezTo>
                    <a:cubicBezTo>
                      <a:pt x="51378" y="234159"/>
                      <a:pt x="28035" y="231433"/>
                      <a:pt x="4555" y="225949"/>
                    </a:cubicBezTo>
                    <a:lnTo>
                      <a:pt x="4555" y="225949"/>
                    </a:lnTo>
                    <a:close/>
                  </a:path>
                </a:pathLst>
              </a:custGeom>
              <a:grpFill/>
              <a:ln w="215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 sz="1799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960307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8204689" cy="47489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79CC0CD-C3AC-47D2-9E85-3C8A1A4702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3864691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6764477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C33504-A3A2-4869-A314-59C65A63B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0002163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6737" y="1414800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240388" y="1414800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B21181-A6BE-44C1-B24C-D9BE1F256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823328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6737" y="1414800"/>
            <a:ext cx="5469263" cy="4748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4148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Bild durch Klicken auf Symbol hinzufügen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628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Bild durch Klicken auf Symbol hinzufügen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AF7A2A-C8BD-4076-BEC1-5E17A3E9B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6417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6736" y="1414800"/>
            <a:ext cx="5900927" cy="4752000"/>
          </a:xfrm>
          <a:solidFill>
            <a:srgbClr val="CDD9E1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7244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Bild durch Klicken auf Symbol hinzufügen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628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en-US" noProof="0"/>
              <a:t>Bild durch Klicken auf Symbol hinzufügen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82616D-05A1-4E58-8FFC-AADBA709B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5950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8204689" cy="2300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6736" y="3862800"/>
            <a:ext cx="8204689" cy="2304000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CC05CC-F2C0-4EA2-9F33-E7CFDB909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8635774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3598576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368113" y="1414800"/>
            <a:ext cx="3598126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8111525" y="1414800"/>
            <a:ext cx="3598126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0E6F99-4153-402E-8560-4A57B7371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79740641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2"/>
            </p:custDataLst>
          </p:nvPr>
        </p:nvSpPr>
        <p:spPr>
          <a:xfrm>
            <a:off x="626737" y="1414800"/>
            <a:ext cx="5469263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3"/>
            </p:custDataLst>
          </p:nvPr>
        </p:nvSpPr>
        <p:spPr>
          <a:xfrm>
            <a:off x="6240388" y="1414800"/>
            <a:ext cx="5469263" cy="2300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4"/>
            </p:custDataLst>
          </p:nvPr>
        </p:nvSpPr>
        <p:spPr>
          <a:xfrm>
            <a:off x="626737" y="3862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6240388" y="3862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107ADB-A155-4757-AACF-8493C43FE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9534467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0414328" y="1414800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802F4E-95B5-4126-874F-AA5264FCDE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0482988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8204689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4328" y="1414800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7E9FF-1240-4BF1-9BAC-22EAFFDEB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09793407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6764477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4328" y="1414800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BDB22E-A915-462C-A3C1-AC3F03A73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490627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7" y="1414800"/>
            <a:ext cx="4029901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1524" y="1414800"/>
            <a:ext cx="4029901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4328" y="1414800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C8D5F1-590A-4B0E-8BF9-D4A7237E91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336786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2590651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360650" y="1414800"/>
            <a:ext cx="2735350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40388" y="1414800"/>
            <a:ext cx="2591038" cy="4748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10414328" y="1414800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48F4C4B-9CD0-45F6-9312-CD8A57C8FE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4250158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8204689" cy="2300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6736" y="3862800"/>
            <a:ext cx="8204689" cy="2304000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4328" y="1414800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53C868-5689-4A2E-845D-F6547EE8D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2263224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7" y="1414800"/>
            <a:ext cx="4029901" cy="2300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1523" y="1414800"/>
            <a:ext cx="4029901" cy="2300962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6737" y="3862800"/>
            <a:ext cx="4029901" cy="2304000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4801524" y="3862800"/>
            <a:ext cx="4029901" cy="2304000"/>
          </a:xfrm>
        </p:spPr>
        <p:txBody>
          <a:bodyPr/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0414328" y="1414800"/>
            <a:ext cx="1295324" cy="4748962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7A130-86E1-42AF-B13C-7C02348FC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90846277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6571" y="1414800"/>
            <a:ext cx="7535429" cy="47520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800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Bild durch Klicken auf Symbol hinzufügen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98F247-FCF7-49EE-BAE3-74A4EA3B6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879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1935428-745A-4C8E-8C04-0D05DFDE8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27746358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Folie" r:id="rId8" imgW="306" imgH="306" progId="TCLayout.ActiveDocument.1">
                  <p:embed/>
                </p:oleObj>
              </mc:Choice>
              <mc:Fallback>
                <p:oleObj name="think-cell Folie" r:id="rId8" imgW="306" imgH="30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1935428-745A-4C8E-8C04-0D05DFDE8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1E5CBE7A-D23C-46CF-91C2-EB1DA8B75D48}"/>
              </a:ext>
            </a:extLst>
          </p:cNvPr>
          <p:cNvSpPr>
            <a:spLocks/>
          </p:cNvSpPr>
          <p:nvPr userDrawn="1"/>
        </p:nvSpPr>
        <p:spPr bwMode="auto">
          <a:xfrm>
            <a:off x="3174" y="1"/>
            <a:ext cx="12188826" cy="685800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5888" tIns="89953" rIns="215888" bIns="215888" numCol="1" anchor="b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lang="en-US" sz="4398" b="1" dirty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D102ED3-B45A-4887-B1CB-F08EA6339E7E}"/>
              </a:ext>
            </a:extLst>
          </p:cNvPr>
          <p:cNvSpPr>
            <a:spLocks/>
          </p:cNvSpPr>
          <p:nvPr userDrawn="1"/>
        </p:nvSpPr>
        <p:spPr bwMode="auto">
          <a:xfrm>
            <a:off x="3174" y="177800"/>
            <a:ext cx="12004772" cy="668337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215888" tIns="89953" rIns="215888" bIns="215888" numCol="1" anchor="b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lang="en-US" sz="4398" b="1" dirty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5" name="cdtText Box 133 Id16">
            <a:extLst>
              <a:ext uri="{FF2B5EF4-FFF2-40B4-BE49-F238E27FC236}">
                <a16:creationId xmlns:a16="http://schemas.microsoft.com/office/drawing/2014/main" id="{C575E9C6-EA98-4CDE-94C7-206920180D93}"/>
              </a:ext>
            </a:extLst>
          </p:cNvPr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6166801"/>
            <a:ext cx="12192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074" tIns="143925" rIns="3209528" bIns="0" anchor="ctr"/>
          <a:lstStyle/>
          <a:p>
            <a:r>
              <a:rPr lang="en-US" sz="999" b="1" noProof="0" dirty="0">
                <a:solidFill>
                  <a:srgbClr val="879BAA"/>
                </a:solidFill>
              </a:rPr>
              <a:t>Unrestricted © Siemens Mobility 2020</a:t>
            </a:r>
          </a:p>
        </p:txBody>
      </p:sp>
      <p:sp>
        <p:nvSpPr>
          <p:cNvPr id="6" name="cdtTextBox 12 Id17">
            <a:extLst>
              <a:ext uri="{FF2B5EF4-FFF2-40B4-BE49-F238E27FC236}">
                <a16:creationId xmlns:a16="http://schemas.microsoft.com/office/drawing/2014/main" id="{5B663415-3B46-4740-8CF8-E102AF1422B1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0" y="6562800"/>
            <a:ext cx="3930183" cy="29520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rgbClr val="000000"/>
                </a:solidFill>
              </a:rPr>
              <a:t>June 2020</a:t>
            </a:r>
          </a:p>
        </p:txBody>
      </p:sp>
      <p:sp>
        <p:nvSpPr>
          <p:cNvPr id="7" name="cdtTextBox 11 Id18">
            <a:extLst>
              <a:ext uri="{FF2B5EF4-FFF2-40B4-BE49-F238E27FC236}">
                <a16:creationId xmlns:a16="http://schemas.microsoft.com/office/drawing/2014/main" id="{E434E8B8-3060-4A88-86DE-BE428E8D595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1" y="6562800"/>
            <a:ext cx="1764366" cy="29520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999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999" noProof="0" dirty="0">
              <a:solidFill>
                <a:srgbClr val="000000"/>
              </a:solidFill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7375845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elmasterformat durch Klicken bearbeiten</a:t>
            </a:r>
            <a:endParaRPr lang="en-US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85443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6" name="Group 33">
            <a:extLst>
              <a:ext uri="{FF2B5EF4-FFF2-40B4-BE49-F238E27FC236}">
                <a16:creationId xmlns:a16="http://schemas.microsoft.com/office/drawing/2014/main" id="{EF457F1E-91A1-4EF9-8056-C02E56AD59D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7" name="AutoShape 32">
              <a:extLst>
                <a:ext uri="{FF2B5EF4-FFF2-40B4-BE49-F238E27FC236}">
                  <a16:creationId xmlns:a16="http://schemas.microsoft.com/office/drawing/2014/main" id="{9FDD48EF-5BA1-46E4-B0CA-A315050D71B5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8" name="Rectangle 34">
              <a:extLst>
                <a:ext uri="{FF2B5EF4-FFF2-40B4-BE49-F238E27FC236}">
                  <a16:creationId xmlns:a16="http://schemas.microsoft.com/office/drawing/2014/main" id="{AD6A7781-4C80-41AE-8D71-2C130E9FBF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9" name="Freeform 35">
              <a:extLst>
                <a:ext uri="{FF2B5EF4-FFF2-40B4-BE49-F238E27FC236}">
                  <a16:creationId xmlns:a16="http://schemas.microsoft.com/office/drawing/2014/main" id="{77F5DB9F-766F-4F23-ACEB-62C80CF160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0" name="Freeform 36">
              <a:extLst>
                <a:ext uri="{FF2B5EF4-FFF2-40B4-BE49-F238E27FC236}">
                  <a16:creationId xmlns:a16="http://schemas.microsoft.com/office/drawing/2014/main" id="{B0E26517-7349-4CE2-949D-F46A3698F57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1" name="Freeform 37">
              <a:extLst>
                <a:ext uri="{FF2B5EF4-FFF2-40B4-BE49-F238E27FC236}">
                  <a16:creationId xmlns:a16="http://schemas.microsoft.com/office/drawing/2014/main" id="{9798EAFD-B346-4982-96A9-598CC11FA4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2" name="Freeform 38">
              <a:extLst>
                <a:ext uri="{FF2B5EF4-FFF2-40B4-BE49-F238E27FC236}">
                  <a16:creationId xmlns:a16="http://schemas.microsoft.com/office/drawing/2014/main" id="{AE623E75-C81E-41B7-AA23-C8E4CE95D8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3" name="Freeform 39">
              <a:extLst>
                <a:ext uri="{FF2B5EF4-FFF2-40B4-BE49-F238E27FC236}">
                  <a16:creationId xmlns:a16="http://schemas.microsoft.com/office/drawing/2014/main" id="{4D53E01A-609E-4194-8AD0-601955DC4C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4" name="Freeform 40">
              <a:extLst>
                <a:ext uri="{FF2B5EF4-FFF2-40B4-BE49-F238E27FC236}">
                  <a16:creationId xmlns:a16="http://schemas.microsoft.com/office/drawing/2014/main" id="{FA7F7270-2B15-40FB-9B58-104B02F126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5" name="Freeform 41">
              <a:extLst>
                <a:ext uri="{FF2B5EF4-FFF2-40B4-BE49-F238E27FC236}">
                  <a16:creationId xmlns:a16="http://schemas.microsoft.com/office/drawing/2014/main" id="{03CFE57A-16AB-449D-8023-F756BFE8C7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6" name="Freeform 42">
              <a:extLst>
                <a:ext uri="{FF2B5EF4-FFF2-40B4-BE49-F238E27FC236}">
                  <a16:creationId xmlns:a16="http://schemas.microsoft.com/office/drawing/2014/main" id="{E15CC78C-B5B0-424D-AF19-9036B17318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7" name="Freeform 43">
              <a:extLst>
                <a:ext uri="{FF2B5EF4-FFF2-40B4-BE49-F238E27FC236}">
                  <a16:creationId xmlns:a16="http://schemas.microsoft.com/office/drawing/2014/main" id="{ED1EF357-62E8-4925-B8B0-214D8E57E1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8" name="Freeform 44">
              <a:extLst>
                <a:ext uri="{FF2B5EF4-FFF2-40B4-BE49-F238E27FC236}">
                  <a16:creationId xmlns:a16="http://schemas.microsoft.com/office/drawing/2014/main" id="{51794586-BFE9-4335-BB26-EBDA1BB948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19" name="Freeform 45">
              <a:extLst>
                <a:ext uri="{FF2B5EF4-FFF2-40B4-BE49-F238E27FC236}">
                  <a16:creationId xmlns:a16="http://schemas.microsoft.com/office/drawing/2014/main" id="{610614B2-541E-40B8-BAF8-7580CAE771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0" name="Freeform 46">
              <a:extLst>
                <a:ext uri="{FF2B5EF4-FFF2-40B4-BE49-F238E27FC236}">
                  <a16:creationId xmlns:a16="http://schemas.microsoft.com/office/drawing/2014/main" id="{81E5CC67-06C0-4698-836C-C5DA8B540E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1" name="Freeform 47">
              <a:extLst>
                <a:ext uri="{FF2B5EF4-FFF2-40B4-BE49-F238E27FC236}">
                  <a16:creationId xmlns:a16="http://schemas.microsoft.com/office/drawing/2014/main" id="{930A1DA5-ED49-4A89-A486-7B7EAD9A5C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2" name="Freeform 48">
              <a:extLst>
                <a:ext uri="{FF2B5EF4-FFF2-40B4-BE49-F238E27FC236}">
                  <a16:creationId xmlns:a16="http://schemas.microsoft.com/office/drawing/2014/main" id="{004EC9CA-B3C5-456A-A27F-721F4EBFD1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3" name="Freeform 49">
              <a:extLst>
                <a:ext uri="{FF2B5EF4-FFF2-40B4-BE49-F238E27FC236}">
                  <a16:creationId xmlns:a16="http://schemas.microsoft.com/office/drawing/2014/main" id="{935FD59A-ABC9-497E-B90C-6F575DCF74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4" name="Freeform 50">
              <a:extLst>
                <a:ext uri="{FF2B5EF4-FFF2-40B4-BE49-F238E27FC236}">
                  <a16:creationId xmlns:a16="http://schemas.microsoft.com/office/drawing/2014/main" id="{31BD134A-9F1B-4608-820B-A9F4AD8156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5" name="Freeform 51">
              <a:extLst>
                <a:ext uri="{FF2B5EF4-FFF2-40B4-BE49-F238E27FC236}">
                  <a16:creationId xmlns:a16="http://schemas.microsoft.com/office/drawing/2014/main" id="{DAE1F6F4-3803-4494-B7B8-29CE8ECBFA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6" name="Freeform 52">
              <a:extLst>
                <a:ext uri="{FF2B5EF4-FFF2-40B4-BE49-F238E27FC236}">
                  <a16:creationId xmlns:a16="http://schemas.microsoft.com/office/drawing/2014/main" id="{FACA8300-6BD3-434E-8C38-6B5A63D592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7" name="Freeform 53">
              <a:extLst>
                <a:ext uri="{FF2B5EF4-FFF2-40B4-BE49-F238E27FC236}">
                  <a16:creationId xmlns:a16="http://schemas.microsoft.com/office/drawing/2014/main" id="{F968E0D8-25C6-4181-8B08-F9DEB74C28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8" name="Freeform 54">
              <a:extLst>
                <a:ext uri="{FF2B5EF4-FFF2-40B4-BE49-F238E27FC236}">
                  <a16:creationId xmlns:a16="http://schemas.microsoft.com/office/drawing/2014/main" id="{4E5285A2-3D01-4E83-AE0E-C596E30310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29" name="Freeform 55">
              <a:extLst>
                <a:ext uri="{FF2B5EF4-FFF2-40B4-BE49-F238E27FC236}">
                  <a16:creationId xmlns:a16="http://schemas.microsoft.com/office/drawing/2014/main" id="{8B86CF60-14DF-4C2E-AF64-B5597FF57D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30" name="Freeform 56">
              <a:extLst>
                <a:ext uri="{FF2B5EF4-FFF2-40B4-BE49-F238E27FC236}">
                  <a16:creationId xmlns:a16="http://schemas.microsoft.com/office/drawing/2014/main" id="{2A1A443D-CE7C-400F-804B-25546E5EAE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31" name="Freeform 57">
              <a:extLst>
                <a:ext uri="{FF2B5EF4-FFF2-40B4-BE49-F238E27FC236}">
                  <a16:creationId xmlns:a16="http://schemas.microsoft.com/office/drawing/2014/main" id="{2F1A32ED-8A2B-40D5-ADC4-3F677D1B30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32" name="Freeform 58">
              <a:extLst>
                <a:ext uri="{FF2B5EF4-FFF2-40B4-BE49-F238E27FC236}">
                  <a16:creationId xmlns:a16="http://schemas.microsoft.com/office/drawing/2014/main" id="{6F8F867B-5334-4BD5-B43F-A6451C7657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  <p:sp>
          <p:nvSpPr>
            <p:cNvPr id="33" name="Freeform 59">
              <a:extLst>
                <a:ext uri="{FF2B5EF4-FFF2-40B4-BE49-F238E27FC236}">
                  <a16:creationId xmlns:a16="http://schemas.microsoft.com/office/drawing/2014/main" id="{89FCE4B3-79AC-496B-B148-C772328355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8"/>
            </a:p>
          </p:txBody>
        </p:sp>
      </p:grpSp>
    </p:spTree>
    <p:extLst>
      <p:ext uri="{BB962C8B-B14F-4D97-AF65-F5344CB8AC3E}">
        <p14:creationId xmlns:p14="http://schemas.microsoft.com/office/powerpoint/2010/main" val="4184543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Con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338920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28">
            <a:extLst>
              <a:ext uri="{FF2B5EF4-FFF2-40B4-BE49-F238E27FC236}">
                <a16:creationId xmlns:a16="http://schemas.microsoft.com/office/drawing/2014/main" id="{D263EF09-EAF4-4AE5-AC58-C1F54F178B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" y="0"/>
            <a:ext cx="12190451" cy="685800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075510"/>
            <a:ext cx="6476627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8428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 dirty="0"/>
              <a:t>siemens.com/mobility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842800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 dirty="0"/>
              <a:t>Please insert confidentiality note</a:t>
            </a:r>
          </a:p>
        </p:txBody>
      </p:sp>
      <p:grpSp>
        <p:nvGrpSpPr>
          <p:cNvPr id="61" name="Gruppieren 3">
            <a:extLst>
              <a:ext uri="{FF2B5EF4-FFF2-40B4-BE49-F238E27FC236}">
                <a16:creationId xmlns:a16="http://schemas.microsoft.com/office/drawing/2014/main" id="{04EABD9C-FD7F-4E1B-A26F-1860F5CCFA6B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2" name="Gerade Verbindung 2">
              <a:extLst>
                <a:ext uri="{FF2B5EF4-FFF2-40B4-BE49-F238E27FC236}">
                  <a16:creationId xmlns:a16="http://schemas.microsoft.com/office/drawing/2014/main" id="{89A05FB9-9C1D-48BE-A30B-AE726E89CA2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5">
              <a:extLst>
                <a:ext uri="{FF2B5EF4-FFF2-40B4-BE49-F238E27FC236}">
                  <a16:creationId xmlns:a16="http://schemas.microsoft.com/office/drawing/2014/main" id="{CD7E19C4-66AC-48C4-AA80-40E0CAEA705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6">
              <a:extLst>
                <a:ext uri="{FF2B5EF4-FFF2-40B4-BE49-F238E27FC236}">
                  <a16:creationId xmlns:a16="http://schemas.microsoft.com/office/drawing/2014/main" id="{1F8D502F-F585-44EC-9165-7E4989A4941B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37">
              <a:extLst>
                <a:ext uri="{FF2B5EF4-FFF2-40B4-BE49-F238E27FC236}">
                  <a16:creationId xmlns:a16="http://schemas.microsoft.com/office/drawing/2014/main" id="{8919F27D-E1AD-4B70-B1A9-C5D62391667E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38">
              <a:extLst>
                <a:ext uri="{FF2B5EF4-FFF2-40B4-BE49-F238E27FC236}">
                  <a16:creationId xmlns:a16="http://schemas.microsoft.com/office/drawing/2014/main" id="{7224577A-FD9D-490E-9D59-F07FC258503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39">
              <a:extLst>
                <a:ext uri="{FF2B5EF4-FFF2-40B4-BE49-F238E27FC236}">
                  <a16:creationId xmlns:a16="http://schemas.microsoft.com/office/drawing/2014/main" id="{3B819D76-3AB9-4DB5-BDAE-12BE077A342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1">
              <a:extLst>
                <a:ext uri="{FF2B5EF4-FFF2-40B4-BE49-F238E27FC236}">
                  <a16:creationId xmlns:a16="http://schemas.microsoft.com/office/drawing/2014/main" id="{944C8788-AA70-4639-91F5-FE8B6D3732AE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2">
              <a:extLst>
                <a:ext uri="{FF2B5EF4-FFF2-40B4-BE49-F238E27FC236}">
                  <a16:creationId xmlns:a16="http://schemas.microsoft.com/office/drawing/2014/main" id="{D3831BF4-3205-42B3-AF79-AF6053084FAA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3">
              <a:extLst>
                <a:ext uri="{FF2B5EF4-FFF2-40B4-BE49-F238E27FC236}">
                  <a16:creationId xmlns:a16="http://schemas.microsoft.com/office/drawing/2014/main" id="{1A30A93B-A96D-4CA1-82FD-CD2BDBF216B1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4">
              <a:extLst>
                <a:ext uri="{FF2B5EF4-FFF2-40B4-BE49-F238E27FC236}">
                  <a16:creationId xmlns:a16="http://schemas.microsoft.com/office/drawing/2014/main" id="{85923125-603F-45DC-A3D9-8DC192432A7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1">
              <a:extLst>
                <a:ext uri="{FF2B5EF4-FFF2-40B4-BE49-F238E27FC236}">
                  <a16:creationId xmlns:a16="http://schemas.microsoft.com/office/drawing/2014/main" id="{596F906A-ADD4-4935-8D2E-5B9DA9624FFE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2">
              <a:extLst>
                <a:ext uri="{FF2B5EF4-FFF2-40B4-BE49-F238E27FC236}">
                  <a16:creationId xmlns:a16="http://schemas.microsoft.com/office/drawing/2014/main" id="{05A8CCF4-8B47-4E2A-A03D-BE93229CA5C2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3">
              <a:extLst>
                <a:ext uri="{FF2B5EF4-FFF2-40B4-BE49-F238E27FC236}">
                  <a16:creationId xmlns:a16="http://schemas.microsoft.com/office/drawing/2014/main" id="{ABB955C0-897C-4617-80E5-983281766BB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4">
              <a:extLst>
                <a:ext uri="{FF2B5EF4-FFF2-40B4-BE49-F238E27FC236}">
                  <a16:creationId xmlns:a16="http://schemas.microsoft.com/office/drawing/2014/main" id="{40AB260C-D855-410C-ABB0-80551FF41488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5">
              <a:extLst>
                <a:ext uri="{FF2B5EF4-FFF2-40B4-BE49-F238E27FC236}">
                  <a16:creationId xmlns:a16="http://schemas.microsoft.com/office/drawing/2014/main" id="{D0E02354-0236-4A5B-8C26-E6C35801A4BB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6">
              <a:extLst>
                <a:ext uri="{FF2B5EF4-FFF2-40B4-BE49-F238E27FC236}">
                  <a16:creationId xmlns:a16="http://schemas.microsoft.com/office/drawing/2014/main" id="{32825872-4231-4C63-BE9D-A3166D908840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8">
              <a:extLst>
                <a:ext uri="{FF2B5EF4-FFF2-40B4-BE49-F238E27FC236}">
                  <a16:creationId xmlns:a16="http://schemas.microsoft.com/office/drawing/2014/main" id="{94A02465-CC19-4196-84D8-1C645C8BF7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59">
              <a:extLst>
                <a:ext uri="{FF2B5EF4-FFF2-40B4-BE49-F238E27FC236}">
                  <a16:creationId xmlns:a16="http://schemas.microsoft.com/office/drawing/2014/main" id="{D0484987-DAA1-40F0-993E-1014D9E53461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0">
              <a:extLst>
                <a:ext uri="{FF2B5EF4-FFF2-40B4-BE49-F238E27FC236}">
                  <a16:creationId xmlns:a16="http://schemas.microsoft.com/office/drawing/2014/main" id="{D4D522F4-06F6-4F2F-BAF6-00C182BBE778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61">
              <a:extLst>
                <a:ext uri="{FF2B5EF4-FFF2-40B4-BE49-F238E27FC236}">
                  <a16:creationId xmlns:a16="http://schemas.microsoft.com/office/drawing/2014/main" id="{D848176A-D719-42C8-9EDF-763969EA2B12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60" name="Graphic 59">
            <a:extLst>
              <a:ext uri="{FF2B5EF4-FFF2-40B4-BE49-F238E27FC236}">
                <a16:creationId xmlns:a16="http://schemas.microsoft.com/office/drawing/2014/main" id="{E7AB7DAB-009E-4430-9B39-F6E905CC4B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996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75.xml"/><Relationship Id="rId42" Type="http://schemas.openxmlformats.org/officeDocument/2006/relationships/tags" Target="../tags/tag8.xml"/><Relationship Id="rId47" Type="http://schemas.openxmlformats.org/officeDocument/2006/relationships/tags" Target="../tags/tag13.xml"/><Relationship Id="rId63" Type="http://schemas.openxmlformats.org/officeDocument/2006/relationships/tags" Target="../tags/tag29.xml"/><Relationship Id="rId68" Type="http://schemas.openxmlformats.org/officeDocument/2006/relationships/image" Target="../media/image31.png"/><Relationship Id="rId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slideLayout" Target="../slideLayouts/slideLayout86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45" Type="http://schemas.openxmlformats.org/officeDocument/2006/relationships/tags" Target="../tags/tag11.xml"/><Relationship Id="rId53" Type="http://schemas.openxmlformats.org/officeDocument/2006/relationships/tags" Target="../tags/tag19.xml"/><Relationship Id="rId58" Type="http://schemas.openxmlformats.org/officeDocument/2006/relationships/tags" Target="../tags/tag24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59.xml"/><Relationship Id="rId61" Type="http://schemas.openxmlformats.org/officeDocument/2006/relationships/tags" Target="../tags/tag27.xml"/><Relationship Id="rId1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slideLayout" Target="../slideLayouts/slideLayout81.xml"/><Relationship Id="rId30" Type="http://schemas.openxmlformats.org/officeDocument/2006/relationships/slideLayout" Target="../slideLayouts/slideLayout84.xml"/><Relationship Id="rId35" Type="http://schemas.openxmlformats.org/officeDocument/2006/relationships/tags" Target="../tags/tag1.xml"/><Relationship Id="rId43" Type="http://schemas.openxmlformats.org/officeDocument/2006/relationships/tags" Target="../tags/tag9.xml"/><Relationship Id="rId48" Type="http://schemas.openxmlformats.org/officeDocument/2006/relationships/tags" Target="../tags/tag14.xml"/><Relationship Id="rId56" Type="http://schemas.openxmlformats.org/officeDocument/2006/relationships/tags" Target="../tags/tag22.xml"/><Relationship Id="rId64" Type="http://schemas.openxmlformats.org/officeDocument/2006/relationships/tags" Target="../tags/tag30.xml"/><Relationship Id="rId69" Type="http://schemas.openxmlformats.org/officeDocument/2006/relationships/image" Target="../media/image32.svg"/><Relationship Id="rId8" Type="http://schemas.openxmlformats.org/officeDocument/2006/relationships/slideLayout" Target="../slideLayouts/slideLayout62.xml"/><Relationship Id="rId51" Type="http://schemas.openxmlformats.org/officeDocument/2006/relationships/tags" Target="../tags/tag17.xml"/><Relationship Id="rId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33" Type="http://schemas.openxmlformats.org/officeDocument/2006/relationships/theme" Target="../theme/theme2.xml"/><Relationship Id="rId38" Type="http://schemas.openxmlformats.org/officeDocument/2006/relationships/tags" Target="../tags/tag4.xml"/><Relationship Id="rId46" Type="http://schemas.openxmlformats.org/officeDocument/2006/relationships/tags" Target="../tags/tag12.xml"/><Relationship Id="rId59" Type="http://schemas.openxmlformats.org/officeDocument/2006/relationships/tags" Target="../tags/tag25.xml"/><Relationship Id="rId67" Type="http://schemas.openxmlformats.org/officeDocument/2006/relationships/image" Target="../media/image30.emf"/><Relationship Id="rId20" Type="http://schemas.openxmlformats.org/officeDocument/2006/relationships/slideLayout" Target="../slideLayouts/slideLayout74.xml"/><Relationship Id="rId41" Type="http://schemas.openxmlformats.org/officeDocument/2006/relationships/tags" Target="../tags/tag7.xml"/><Relationship Id="rId54" Type="http://schemas.openxmlformats.org/officeDocument/2006/relationships/tags" Target="../tags/tag20.xml"/><Relationship Id="rId62" Type="http://schemas.openxmlformats.org/officeDocument/2006/relationships/tags" Target="../tags/tag28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slideLayout" Target="../slideLayouts/slideLayout82.xml"/><Relationship Id="rId36" Type="http://schemas.openxmlformats.org/officeDocument/2006/relationships/tags" Target="../tags/tag2.xml"/><Relationship Id="rId49" Type="http://schemas.openxmlformats.org/officeDocument/2006/relationships/tags" Target="../tags/tag15.xml"/><Relationship Id="rId57" Type="http://schemas.openxmlformats.org/officeDocument/2006/relationships/tags" Target="../tags/tag23.xml"/><Relationship Id="rId10" Type="http://schemas.openxmlformats.org/officeDocument/2006/relationships/slideLayout" Target="../slideLayouts/slideLayout64.xml"/><Relationship Id="rId31" Type="http://schemas.openxmlformats.org/officeDocument/2006/relationships/slideLayout" Target="../slideLayouts/slideLayout85.xml"/><Relationship Id="rId44" Type="http://schemas.openxmlformats.org/officeDocument/2006/relationships/tags" Target="../tags/tag10.xml"/><Relationship Id="rId52" Type="http://schemas.openxmlformats.org/officeDocument/2006/relationships/tags" Target="../tags/tag18.xml"/><Relationship Id="rId60" Type="http://schemas.openxmlformats.org/officeDocument/2006/relationships/tags" Target="../tags/tag26.xml"/><Relationship Id="rId65" Type="http://schemas.openxmlformats.org/officeDocument/2006/relationships/tags" Target="../tags/tag31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9" Type="http://schemas.openxmlformats.org/officeDocument/2006/relationships/tags" Target="../tags/tag5.xml"/><Relationship Id="rId34" Type="http://schemas.openxmlformats.org/officeDocument/2006/relationships/vmlDrawing" Target="../drawings/vmlDrawing1.vml"/><Relationship Id="rId50" Type="http://schemas.openxmlformats.org/officeDocument/2006/relationships/tags" Target="../tags/tag16.xml"/><Relationship Id="rId55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751" r:id="rId37"/>
    <p:sldLayoutId id="2147483691" r:id="rId38"/>
    <p:sldLayoutId id="2147483752" r:id="rId39"/>
    <p:sldLayoutId id="2147483692" r:id="rId40"/>
    <p:sldLayoutId id="2147483650" r:id="rId41"/>
    <p:sldLayoutId id="2147483665" r:id="rId42"/>
    <p:sldLayoutId id="2147483666" r:id="rId43"/>
    <p:sldLayoutId id="2147483697" r:id="rId44"/>
    <p:sldLayoutId id="2147483698" r:id="rId45"/>
    <p:sldLayoutId id="2147483652" r:id="rId46"/>
    <p:sldLayoutId id="2147483680" r:id="rId47"/>
    <p:sldLayoutId id="2147483694" r:id="rId48"/>
    <p:sldLayoutId id="2147483687" r:id="rId49"/>
    <p:sldLayoutId id="2147483681" r:id="rId50"/>
    <p:sldLayoutId id="2147483690" r:id="rId51"/>
    <p:sldLayoutId id="2147483711" r:id="rId52"/>
    <p:sldLayoutId id="2147483682" r:id="rId53"/>
    <p:sldLayoutId id="2147483678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41A1F6E-8D0C-47AB-9C75-3A72D1471B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32793151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Folie" r:id="rId66" imgW="344" imgH="345" progId="TCLayout.ActiveDocument.1">
                  <p:embed/>
                </p:oleObj>
              </mc:Choice>
              <mc:Fallback>
                <p:oleObj name="think-cell Folie" r:id="rId66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41A1F6E-8D0C-47AB-9C75-3A72D1471B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B34E784-796A-4FF1-BDB4-800515DD33C2}"/>
              </a:ext>
            </a:extLst>
          </p:cNvPr>
          <p:cNvSpPr/>
          <p:nvPr userDrawn="1">
            <p:custDataLst>
              <p:tags r:id="rId36"/>
            </p:custDataLst>
          </p:nvPr>
        </p:nvSpPr>
        <p:spPr bwMode="auto">
          <a:xfrm>
            <a:off x="0" y="0"/>
            <a:ext cx="158667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7"/>
            </p:custDataLst>
          </p:nvPr>
        </p:nvSpPr>
        <p:spPr bwMode="auto">
          <a:xfrm>
            <a:off x="0" y="-1"/>
            <a:ext cx="12192000" cy="14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08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Mastertitelformat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8"/>
            </p:custDataLst>
          </p:nvPr>
        </p:nvSpPr>
        <p:spPr bwMode="auto">
          <a:xfrm>
            <a:off x="626736" y="1414801"/>
            <a:ext cx="8204689" cy="475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Mastertextformat bearbeiten</a:t>
            </a:r>
          </a:p>
          <a:p>
            <a:pPr lvl="1"/>
            <a:r>
              <a:rPr lang="en-US" noProof="0"/>
              <a:t>Zweite Ebene</a:t>
            </a:r>
          </a:p>
          <a:p>
            <a:pPr lvl="2"/>
            <a:r>
              <a:rPr lang="en-US" noProof="0"/>
              <a:t>Dritte Ebene</a:t>
            </a:r>
          </a:p>
          <a:p>
            <a:pPr lvl="3"/>
            <a:r>
              <a:rPr lang="en-US" noProof="0"/>
              <a:t>Vierte Ebene</a:t>
            </a:r>
          </a:p>
          <a:p>
            <a:pPr lvl="4"/>
            <a:r>
              <a:rPr lang="en-US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6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6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0" y="6166801"/>
            <a:ext cx="12192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074" tIns="143925" rIns="3209528" bIns="0" anchor="ctr"/>
          <a:lstStyle/>
          <a:p>
            <a:r>
              <a:rPr lang="en-US" sz="999" b="1" noProof="0" dirty="0">
                <a:solidFill>
                  <a:srgbClr val="879BAA"/>
                </a:solidFill>
              </a:rPr>
              <a:t>Unrestricted © Siemens Mobility 2020</a:t>
            </a:r>
          </a:p>
        </p:txBody>
      </p:sp>
      <p:sp>
        <p:nvSpPr>
          <p:cNvPr id="64" name="cdtTextBox 12 Id17"/>
          <p:cNvSpPr txBox="1"/>
          <p:nvPr>
            <p:custDataLst>
              <p:tags r:id="rId63"/>
            </p:custDataLst>
          </p:nvPr>
        </p:nvSpPr>
        <p:spPr>
          <a:xfrm>
            <a:off x="0" y="6562800"/>
            <a:ext cx="3930183" cy="29520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rgbClr val="000000"/>
                </a:solidFill>
              </a:rPr>
              <a:t>June 2020</a:t>
            </a:r>
          </a:p>
        </p:txBody>
      </p:sp>
      <p:sp>
        <p:nvSpPr>
          <p:cNvPr id="65" name="cdtTextBox 11 Id18"/>
          <p:cNvSpPr txBox="1"/>
          <p:nvPr>
            <p:custDataLst>
              <p:tags r:id="rId64"/>
            </p:custDataLst>
          </p:nvPr>
        </p:nvSpPr>
        <p:spPr>
          <a:xfrm>
            <a:off x="1" y="6562800"/>
            <a:ext cx="1764366" cy="29520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999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999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65"/>
            </p:custDataLst>
          </p:nvPr>
        </p:nvSpPr>
        <p:spPr>
          <a:xfrm>
            <a:off x="3785793" y="6562800"/>
            <a:ext cx="8406206" cy="29520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 eaLnBrk="1" hangingPunct="1">
              <a:lnSpc>
                <a:spcPct val="110000"/>
              </a:lnSpc>
              <a:spcBef>
                <a:spcPct val="0"/>
              </a:spcBef>
              <a:defRPr/>
            </a:pPr>
            <a:r>
              <a:rPr lang="en-US" altLang="de-DE" sz="999" dirty="0">
                <a:solidFill>
                  <a:srgbClr val="000000"/>
                </a:solidFill>
                <a:cs typeface="Arial" panose="020B0604020202020204" pitchFamily="34" charset="0"/>
              </a:rPr>
              <a:t>Siemens Mobility</a:t>
            </a:r>
          </a:p>
        </p:txBody>
      </p:sp>
      <p:grpSp>
        <p:nvGrpSpPr>
          <p:cNvPr id="110" name="Gruppieren 3">
            <a:extLst>
              <a:ext uri="{FF2B5EF4-FFF2-40B4-BE49-F238E27FC236}">
                <a16:creationId xmlns:a16="http://schemas.microsoft.com/office/drawing/2014/main" id="{11485BB4-7ABE-491B-9BCA-648F8E974E6F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111" name="Gerade Verbindung 2">
              <a:extLst>
                <a:ext uri="{FF2B5EF4-FFF2-40B4-BE49-F238E27FC236}">
                  <a16:creationId xmlns:a16="http://schemas.microsoft.com/office/drawing/2014/main" id="{D3481A28-506D-480C-9A66-DECD318E82D3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35">
              <a:extLst>
                <a:ext uri="{FF2B5EF4-FFF2-40B4-BE49-F238E27FC236}">
                  <a16:creationId xmlns:a16="http://schemas.microsoft.com/office/drawing/2014/main" id="{130D11BD-55B4-4C9D-A8C6-9145A71D981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36">
              <a:extLst>
                <a:ext uri="{FF2B5EF4-FFF2-40B4-BE49-F238E27FC236}">
                  <a16:creationId xmlns:a16="http://schemas.microsoft.com/office/drawing/2014/main" id="{B820DD41-0E37-482F-9A8F-57386910CE3E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37">
              <a:extLst>
                <a:ext uri="{FF2B5EF4-FFF2-40B4-BE49-F238E27FC236}">
                  <a16:creationId xmlns:a16="http://schemas.microsoft.com/office/drawing/2014/main" id="{33EF8D55-DE51-4E59-AFDA-77ACC7AD8AEF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38">
              <a:extLst>
                <a:ext uri="{FF2B5EF4-FFF2-40B4-BE49-F238E27FC236}">
                  <a16:creationId xmlns:a16="http://schemas.microsoft.com/office/drawing/2014/main" id="{2283F1C0-23E2-4509-9C20-6287CCD065F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39">
              <a:extLst>
                <a:ext uri="{FF2B5EF4-FFF2-40B4-BE49-F238E27FC236}">
                  <a16:creationId xmlns:a16="http://schemas.microsoft.com/office/drawing/2014/main" id="{E3379913-FC6E-463D-AEAE-2BB16781D463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8" name="Gerade Verbindung 41">
              <a:extLst>
                <a:ext uri="{FF2B5EF4-FFF2-40B4-BE49-F238E27FC236}">
                  <a16:creationId xmlns:a16="http://schemas.microsoft.com/office/drawing/2014/main" id="{222B6312-2F51-4FA3-8C08-9A13F69A5633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9" name="Gerade Verbindung 42">
              <a:extLst>
                <a:ext uri="{FF2B5EF4-FFF2-40B4-BE49-F238E27FC236}">
                  <a16:creationId xmlns:a16="http://schemas.microsoft.com/office/drawing/2014/main" id="{50E9DEC4-0F2F-44A5-BD38-695773DF1794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43">
              <a:extLst>
                <a:ext uri="{FF2B5EF4-FFF2-40B4-BE49-F238E27FC236}">
                  <a16:creationId xmlns:a16="http://schemas.microsoft.com/office/drawing/2014/main" id="{FD22593F-43EE-493E-B50E-38540AB947C8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1" name="Gerade Verbindung 44">
              <a:extLst>
                <a:ext uri="{FF2B5EF4-FFF2-40B4-BE49-F238E27FC236}">
                  <a16:creationId xmlns:a16="http://schemas.microsoft.com/office/drawing/2014/main" id="{53A07D88-63B2-47EB-AB44-B33ECDA3D1E3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2" name="Gerade Verbindung 51">
              <a:extLst>
                <a:ext uri="{FF2B5EF4-FFF2-40B4-BE49-F238E27FC236}">
                  <a16:creationId xmlns:a16="http://schemas.microsoft.com/office/drawing/2014/main" id="{EC7579F2-0DEE-448D-9AF7-473D86469DFD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3" name="Gerade Verbindung 52">
              <a:extLst>
                <a:ext uri="{FF2B5EF4-FFF2-40B4-BE49-F238E27FC236}">
                  <a16:creationId xmlns:a16="http://schemas.microsoft.com/office/drawing/2014/main" id="{66AABF70-A7AB-4246-9C07-E7C0DF98BB58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4" name="Gerade Verbindung 53">
              <a:extLst>
                <a:ext uri="{FF2B5EF4-FFF2-40B4-BE49-F238E27FC236}">
                  <a16:creationId xmlns:a16="http://schemas.microsoft.com/office/drawing/2014/main" id="{24104AD5-2FAA-4FD3-9D85-E657EE1F93C4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5" name="Gerade Verbindung 54">
              <a:extLst>
                <a:ext uri="{FF2B5EF4-FFF2-40B4-BE49-F238E27FC236}">
                  <a16:creationId xmlns:a16="http://schemas.microsoft.com/office/drawing/2014/main" id="{98607180-5F5B-4C3F-AC76-D17B26D20324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55">
              <a:extLst>
                <a:ext uri="{FF2B5EF4-FFF2-40B4-BE49-F238E27FC236}">
                  <a16:creationId xmlns:a16="http://schemas.microsoft.com/office/drawing/2014/main" id="{796F899A-0269-4CBA-AE55-9E349702BDED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7" name="Gerade Verbindung 56">
              <a:extLst>
                <a:ext uri="{FF2B5EF4-FFF2-40B4-BE49-F238E27FC236}">
                  <a16:creationId xmlns:a16="http://schemas.microsoft.com/office/drawing/2014/main" id="{CC8A9196-5B0A-4DB8-B1ED-994AC983B6CD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9" name="Gerade Verbindung 58">
              <a:extLst>
                <a:ext uri="{FF2B5EF4-FFF2-40B4-BE49-F238E27FC236}">
                  <a16:creationId xmlns:a16="http://schemas.microsoft.com/office/drawing/2014/main" id="{C76CB2CB-5806-4CEB-A91C-18CADB80CC8C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0" name="Gerade Verbindung 59">
              <a:extLst>
                <a:ext uri="{FF2B5EF4-FFF2-40B4-BE49-F238E27FC236}">
                  <a16:creationId xmlns:a16="http://schemas.microsoft.com/office/drawing/2014/main" id="{125DAEFB-F266-4E8C-984F-0C214BACBBC5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1" name="Gerade Verbindung 60">
              <a:extLst>
                <a:ext uri="{FF2B5EF4-FFF2-40B4-BE49-F238E27FC236}">
                  <a16:creationId xmlns:a16="http://schemas.microsoft.com/office/drawing/2014/main" id="{8EC22572-D792-49E7-B4FE-275E163F4196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61">
              <a:extLst>
                <a:ext uri="{FF2B5EF4-FFF2-40B4-BE49-F238E27FC236}">
                  <a16:creationId xmlns:a16="http://schemas.microsoft.com/office/drawing/2014/main" id="{8999C9BB-BC39-40EC-8DF2-69ECA680BB0D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82" name="Graphic 81">
            <a:extLst>
              <a:ext uri="{FF2B5EF4-FFF2-40B4-BE49-F238E27FC236}">
                <a16:creationId xmlns:a16="http://schemas.microsoft.com/office/drawing/2014/main" id="{6DC3933B-2F07-4E28-8754-24CBAE074302}"/>
              </a:ext>
            </a:extLst>
          </p:cNvPr>
          <p:cNvPicPr>
            <a:picLocks noChangeAspect="1"/>
          </p:cNvPicPr>
          <p:nvPr userDrawn="1"/>
        </p:nvPicPr>
        <p:blipFill>
          <a:blip r:embed="rId6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36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  <p:sldLayoutId id="2147483772" r:id="rId19"/>
    <p:sldLayoutId id="2147483773" r:id="rId20"/>
    <p:sldLayoutId id="2147483774" r:id="rId21"/>
    <p:sldLayoutId id="2147483775" r:id="rId22"/>
    <p:sldLayoutId id="2147483776" r:id="rId23"/>
    <p:sldLayoutId id="2147483777" r:id="rId24"/>
    <p:sldLayoutId id="2147483778" r:id="rId25"/>
    <p:sldLayoutId id="2147483779" r:id="rId26"/>
    <p:sldLayoutId id="2147483780" r:id="rId27"/>
    <p:sldLayoutId id="2147483781" r:id="rId28"/>
    <p:sldLayoutId id="2147483782" r:id="rId29"/>
    <p:sldLayoutId id="2147483783" r:id="rId30"/>
    <p:sldLayoutId id="2147483784" r:id="rId31"/>
    <p:sldLayoutId id="2147483785" r:id="rId3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991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991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991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640" indent="-17991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2">
          <p15:clr>
            <a:srgbClr val="F26B43"/>
          </p15:clr>
        </p15:guide>
        <p15:guide id="2" orient="horz" pos="891">
          <p15:clr>
            <a:srgbClr val="F26B43"/>
          </p15:clr>
        </p15:guide>
        <p15:guide id="3" pos="3933">
          <p15:clr>
            <a:srgbClr val="F26B43"/>
          </p15:clr>
        </p15:guide>
        <p15:guide id="4" pos="5566">
          <p15:clr>
            <a:srgbClr val="F26B43"/>
          </p15:clr>
        </p15:guide>
        <p15:guide id="5" pos="7380">
          <p15:clr>
            <a:srgbClr val="F26B43"/>
          </p15:clr>
        </p15:guide>
        <p15:guide id="6" pos="395">
          <p15:clr>
            <a:srgbClr val="F26B43"/>
          </p15:clr>
        </p15:guide>
        <p15:guide id="8" orient="horz" pos="210">
          <p15:clr>
            <a:srgbClr val="F26B43"/>
          </p15:clr>
        </p15:guide>
        <p15:guide id="10" orient="horz" pos="2343">
          <p15:clr>
            <a:srgbClr val="F26B43"/>
          </p15:clr>
        </p15:guide>
        <p15:guide id="11" orient="horz" pos="2433">
          <p15:clr>
            <a:srgbClr val="F26B43"/>
          </p15:clr>
        </p15:guide>
        <p15:guide id="12" orient="horz" pos="38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67.jpeg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hyperlink" Target="mailto:pavel.lavrenko@siemens.com" TargetMode="External"/><Relationship Id="rId5" Type="http://schemas.openxmlformats.org/officeDocument/2006/relationships/slideLayout" Target="../slideLayouts/slideLayout40.xml"/><Relationship Id="rId4" Type="http://schemas.openxmlformats.org/officeDocument/2006/relationships/tags" Target="../tags/tag9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image" Target="../media/image42.svg"/><Relationship Id="rId7" Type="http://schemas.openxmlformats.org/officeDocument/2006/relationships/image" Target="../media/image46.png"/><Relationship Id="rId12" Type="http://schemas.openxmlformats.org/officeDocument/2006/relationships/image" Target="../media/image51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45.png"/><Relationship Id="rId11" Type="http://schemas.openxmlformats.org/officeDocument/2006/relationships/image" Target="../media/image50.jpeg"/><Relationship Id="rId5" Type="http://schemas.openxmlformats.org/officeDocument/2006/relationships/image" Target="../media/image44.jpe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54.jpeg"/><Relationship Id="rId4" Type="http://schemas.openxmlformats.org/officeDocument/2006/relationships/image" Target="../media/image5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42.svg"/><Relationship Id="rId7" Type="http://schemas.openxmlformats.org/officeDocument/2006/relationships/image" Target="../media/image56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5.png"/><Relationship Id="rId5" Type="http://schemas.openxmlformats.org/officeDocument/2006/relationships/image" Target="../media/image44.jpeg"/><Relationship Id="rId4" Type="http://schemas.openxmlformats.org/officeDocument/2006/relationships/image" Target="../media/image43.png"/><Relationship Id="rId9" Type="http://schemas.openxmlformats.org/officeDocument/2006/relationships/image" Target="../media/image5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6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C7413F94-559E-46DF-A817-2051A7BA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162" y="4248697"/>
            <a:ext cx="11125056" cy="1292662"/>
          </a:xfrm>
        </p:spPr>
        <p:txBody>
          <a:bodyPr/>
          <a:lstStyle/>
          <a:p>
            <a:r>
              <a:rPr lang="ru-RU" sz="2800" dirty="0"/>
              <a:t>Цифровая трансформация в обслуживании железнодорожной инфраструктуры </a:t>
            </a:r>
            <a:br>
              <a:rPr lang="en-US" sz="2800" dirty="0"/>
            </a:br>
            <a:br>
              <a:rPr lang="en-US" sz="1400" dirty="0"/>
            </a:br>
            <a:endParaRPr lang="en-US" sz="1400" b="0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8D101C9-5442-4E35-9BFD-3591529F0F7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Restricted | © Siemens 2020| Pavel Lavrenko | SMO CS DS </a:t>
            </a:r>
          </a:p>
        </p:txBody>
      </p:sp>
      <p:sp>
        <p:nvSpPr>
          <p:cNvPr id="7" name="Information - please remove!">
            <a:extLst>
              <a:ext uri="{FF2B5EF4-FFF2-40B4-BE49-F238E27FC236}">
                <a16:creationId xmlns:a16="http://schemas.microsoft.com/office/drawing/2014/main" id="{05C4E4C3-CB08-4085-B570-558FBC89F3FC}"/>
              </a:ext>
            </a:extLst>
          </p:cNvPr>
          <p:cNvSpPr/>
          <p:nvPr/>
        </p:nvSpPr>
        <p:spPr bwMode="auto">
          <a:xfrm rot="-600000">
            <a:off x="9522446" y="895714"/>
            <a:ext cx="2354908" cy="2354908"/>
          </a:xfrm>
          <a:prstGeom prst="ellipse">
            <a:avLst/>
          </a:prstGeom>
          <a:solidFill>
            <a:srgbClr val="65CEFF"/>
          </a:solidFill>
          <a:ln w="57150">
            <a:noFill/>
            <a:prstDash val="dash"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en-US" sz="1300" dirty="0">
                <a:solidFill>
                  <a:schemeClr val="bg1"/>
                </a:solidFill>
              </a:rPr>
              <a:t>The background image is a placeholder (non-exclusive for Siemens) and should be changed</a:t>
            </a:r>
            <a:br>
              <a:rPr lang="en-US" sz="1300" dirty="0">
                <a:solidFill>
                  <a:schemeClr val="bg1"/>
                </a:solidFill>
              </a:rPr>
            </a:br>
            <a:r>
              <a:rPr lang="en-US" sz="1300" dirty="0">
                <a:solidFill>
                  <a:schemeClr val="bg1"/>
                </a:solidFill>
              </a:rPr>
              <a:t>if desired.</a:t>
            </a:r>
          </a:p>
        </p:txBody>
      </p: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FBF86E7E-5AE7-4EDC-93BF-27C0B5A7FCB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835A6A2A-F18F-42D2-93E3-DBD4C1F090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3980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48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FA0B0C7-33C2-463C-B466-89FF04DE7F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8673" y="1144861"/>
            <a:ext cx="6331495" cy="3580256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RX </a:t>
            </a:r>
            <a:r>
              <a:rPr lang="en-US" dirty="0">
                <a:sym typeface="Wingdings" panose="05000000000000000000" pitchFamily="2" charset="2"/>
              </a:rPr>
              <a:t> </a:t>
            </a:r>
            <a:r>
              <a:rPr lang="ru-RU" dirty="0">
                <a:sym typeface="Wingdings" panose="05000000000000000000" pitchFamily="2" charset="2"/>
              </a:rPr>
              <a:t>Система распознавания </a:t>
            </a:r>
            <a:r>
              <a:rPr lang="ru-RU" dirty="0" err="1">
                <a:sym typeface="Wingdings" panose="05000000000000000000" pitchFamily="2" charset="2"/>
              </a:rPr>
              <a:t>поврежденых</a:t>
            </a:r>
            <a:r>
              <a:rPr lang="ru-RU" dirty="0">
                <a:sym typeface="Wingdings" panose="05000000000000000000" pitchFamily="2" charset="2"/>
              </a:rPr>
              <a:t> рельсов</a:t>
            </a:r>
            <a:r>
              <a:rPr lang="en-US" dirty="0">
                <a:sym typeface="Wingdings" panose="05000000000000000000" pitchFamily="2" charset="2"/>
              </a:rPr>
              <a:t> </a:t>
            </a:r>
            <a:r>
              <a:rPr lang="ru-RU" dirty="0">
                <a:sym typeface="Wingdings" panose="05000000000000000000" pitchFamily="2" charset="2"/>
              </a:rPr>
              <a:t>(</a:t>
            </a:r>
            <a:r>
              <a:rPr lang="en-US" dirty="0">
                <a:sym typeface="Wingdings" panose="05000000000000000000" pitchFamily="2" charset="2"/>
              </a:rPr>
              <a:t>BRD</a:t>
            </a:r>
            <a:r>
              <a:rPr lang="ru-RU" dirty="0">
                <a:sym typeface="Wingdings" panose="05000000000000000000" pitchFamily="2" charset="2"/>
              </a:rPr>
              <a:t>)</a:t>
            </a:r>
            <a:endParaRPr lang="en-US" dirty="0"/>
          </a:p>
        </p:txBody>
      </p:sp>
      <p:sp>
        <p:nvSpPr>
          <p:cNvPr id="7" name="Rechteck 4">
            <a:extLst>
              <a:ext uri="{FF2B5EF4-FFF2-40B4-BE49-F238E27FC236}">
                <a16:creationId xmlns:a16="http://schemas.microsoft.com/office/drawing/2014/main" id="{1B96B9DC-89AD-4BCB-BA62-DA15E549838A}"/>
              </a:ext>
            </a:extLst>
          </p:cNvPr>
          <p:cNvSpPr>
            <a:spLocks/>
          </p:cNvSpPr>
          <p:nvPr/>
        </p:nvSpPr>
        <p:spPr>
          <a:xfrm>
            <a:off x="341832" y="1989167"/>
            <a:ext cx="4976745" cy="44680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4000"/>
              </a:lnSpc>
              <a:buClr>
                <a:schemeClr val="accent1"/>
              </a:buClr>
            </a:pPr>
            <a:r>
              <a:rPr lang="ru-RU" sz="1600" b="1" dirty="0">
                <a:solidFill>
                  <a:srgbClr val="FF9000"/>
                </a:solidFill>
              </a:rPr>
              <a:t>Ключевые особенности системы </a:t>
            </a:r>
            <a:r>
              <a:rPr lang="ru-RU" sz="1600" b="1" dirty="0">
                <a:solidFill>
                  <a:srgbClr val="FF9000"/>
                </a:solidFill>
                <a:sym typeface="Wingdings" panose="05000000000000000000" pitchFamily="2" charset="2"/>
              </a:rPr>
              <a:t></a:t>
            </a:r>
          </a:p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b="1" dirty="0">
              <a:solidFill>
                <a:srgbClr val="FF9000"/>
              </a:solidFill>
            </a:endParaRP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Сканер фиксирует каждый миллиметр рельсов на предмет повреждений в режиме реального времени, при этом достигается эффективность обнаружения повреждений рельсов более 99 % 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Установка оборудования осуществляется на тележку подвижного состава, система работает по принципу отклонения магнитного поля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Диагностическая система увязывается с существующей архитектурой управлением движения, что позволяет при выявлении повреждении рельса незамедлительно информировать диспетчера о необходимости остановить движение на участке 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endParaRPr lang="ru-RU" sz="1600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BA77E29-01E5-4EB8-A50F-4D96F185EFB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8673" y="4982547"/>
            <a:ext cx="2266195" cy="1698171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8F4990A-B450-41D8-A2D0-FABD1713738E}"/>
              </a:ext>
            </a:extLst>
          </p:cNvPr>
          <p:cNvSpPr/>
          <p:nvPr/>
        </p:nvSpPr>
        <p:spPr>
          <a:xfrm>
            <a:off x="7984964" y="5462300"/>
            <a:ext cx="311953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/>
              <a:t>Изображение повреждения рельса, зафиксированное системой распознавания </a:t>
            </a:r>
            <a:r>
              <a:rPr lang="en-US" sz="1400" i="1" dirty="0"/>
              <a:t>BRD </a:t>
            </a:r>
            <a:endParaRPr lang="ru-RU" sz="1400" i="1" dirty="0"/>
          </a:p>
        </p:txBody>
      </p:sp>
    </p:spTree>
    <p:extLst>
      <p:ext uri="{BB962C8B-B14F-4D97-AF65-F5344CB8AC3E}">
        <p14:creationId xmlns:p14="http://schemas.microsoft.com/office/powerpoint/2010/main" val="34745365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26">
            <a:extLst>
              <a:ext uri="{FF2B5EF4-FFF2-40B4-BE49-F238E27FC236}">
                <a16:creationId xmlns:a16="http://schemas.microsoft.com/office/drawing/2014/main" id="{295187B9-D7AF-457F-8A35-694A4146E02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24493" y="1327824"/>
            <a:ext cx="8465343" cy="5412976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ниторинг и диагностика состояния стрелочных переводов</a:t>
            </a:r>
            <a:br>
              <a:rPr lang="ru-RU" dirty="0"/>
            </a:br>
            <a:r>
              <a:rPr lang="ru-RU" sz="1900" b="0" dirty="0"/>
              <a:t>Опыт в Германии и России  </a:t>
            </a:r>
            <a:br>
              <a:rPr lang="ru-RU" dirty="0"/>
            </a:br>
            <a:endParaRPr lang="en-US" dirty="0"/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E86F1C71-FBA6-456D-AB46-31DA575B8734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7353" y="1446010"/>
            <a:ext cx="8205889" cy="4777507"/>
          </a:xfrm>
          <a:prstGeom prst="rect">
            <a:avLst/>
          </a:prstGeom>
        </p:spPr>
      </p:pic>
      <p:sp>
        <p:nvSpPr>
          <p:cNvPr id="8" name="Rechteck 4">
            <a:extLst>
              <a:ext uri="{FF2B5EF4-FFF2-40B4-BE49-F238E27FC236}">
                <a16:creationId xmlns:a16="http://schemas.microsoft.com/office/drawing/2014/main" id="{3BE9E3A5-8547-49A3-9029-9FC520412081}"/>
              </a:ext>
            </a:extLst>
          </p:cNvPr>
          <p:cNvSpPr>
            <a:spLocks/>
          </p:cNvSpPr>
          <p:nvPr/>
        </p:nvSpPr>
        <p:spPr>
          <a:xfrm>
            <a:off x="358758" y="3429000"/>
            <a:ext cx="2998656" cy="30644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4000"/>
              </a:lnSpc>
              <a:buClr>
                <a:schemeClr val="accent1"/>
              </a:buClr>
            </a:pPr>
            <a:r>
              <a:rPr lang="ru-RU" sz="1600" b="1" dirty="0">
                <a:solidFill>
                  <a:srgbClr val="FF9000"/>
                </a:solidFill>
              </a:rPr>
              <a:t>Ключевые преимущества системы </a:t>
            </a:r>
            <a:r>
              <a:rPr lang="ru-RU" sz="1600" b="1" dirty="0">
                <a:solidFill>
                  <a:srgbClr val="FF9000"/>
                </a:solidFill>
                <a:sym typeface="Wingdings" panose="05000000000000000000" pitchFamily="2" charset="2"/>
              </a:rPr>
              <a:t></a:t>
            </a:r>
          </a:p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b="1" dirty="0">
              <a:solidFill>
                <a:srgbClr val="FF9000"/>
              </a:solidFill>
            </a:endParaRP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Повышение производительности сервисных работ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Увеличение технической готовности горки 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Сокращение расходов на техническое обслуживание сортировочной горки</a:t>
            </a:r>
          </a:p>
        </p:txBody>
      </p:sp>
      <p:sp>
        <p:nvSpPr>
          <p:cNvPr id="9" name="Rechteck 4">
            <a:extLst>
              <a:ext uri="{FF2B5EF4-FFF2-40B4-BE49-F238E27FC236}">
                <a16:creationId xmlns:a16="http://schemas.microsoft.com/office/drawing/2014/main" id="{83A62136-7BD2-492E-9865-3E4672DC4D41}"/>
              </a:ext>
            </a:extLst>
          </p:cNvPr>
          <p:cNvSpPr>
            <a:spLocks/>
          </p:cNvSpPr>
          <p:nvPr/>
        </p:nvSpPr>
        <p:spPr>
          <a:xfrm>
            <a:off x="410400" y="824143"/>
            <a:ext cx="2998656" cy="2502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b="1" dirty="0">
              <a:solidFill>
                <a:srgbClr val="FF9000"/>
              </a:solidFill>
            </a:endParaRPr>
          </a:p>
          <a:p>
            <a:pPr>
              <a:lnSpc>
                <a:spcPct val="114000"/>
              </a:lnSpc>
              <a:buClr>
                <a:schemeClr val="accent1"/>
              </a:buClr>
            </a:pPr>
            <a:r>
              <a:rPr lang="ru-RU" sz="1600" b="1" dirty="0">
                <a:solidFill>
                  <a:srgbClr val="FF9000"/>
                </a:solidFill>
              </a:rPr>
              <a:t>Функционал системы </a:t>
            </a:r>
            <a:r>
              <a:rPr lang="ru-RU" sz="1600" b="1" dirty="0">
                <a:solidFill>
                  <a:srgbClr val="FF9000"/>
                </a:solidFill>
                <a:sym typeface="Wingdings" panose="05000000000000000000" pitchFamily="2" charset="2"/>
              </a:rPr>
              <a:t></a:t>
            </a:r>
          </a:p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  <a:p>
            <a:pPr>
              <a:lnSpc>
                <a:spcPct val="114000"/>
              </a:lnSpc>
              <a:buClr>
                <a:schemeClr val="accent1"/>
              </a:buClr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Мониторинг работы стрелочных переводов на горке, выявление отклонений в их работе, своевременное проведение сервисных работы – ремонт по состоянию </a:t>
            </a:r>
          </a:p>
        </p:txBody>
      </p:sp>
    </p:spTree>
    <p:extLst>
      <p:ext uri="{BB962C8B-B14F-4D97-AF65-F5344CB8AC3E}">
        <p14:creationId xmlns:p14="http://schemas.microsoft.com/office/powerpoint/2010/main" val="4305124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нтактная информация </a:t>
            </a:r>
            <a:br>
              <a:rPr lang="ru-RU" dirty="0"/>
            </a:br>
            <a:endParaRPr lang="en-US" dirty="0"/>
          </a:p>
        </p:txBody>
      </p:sp>
      <p:sp>
        <p:nvSpPr>
          <p:cNvPr id="7" name="cdtText Placeholder 7 Id8">
            <a:extLst>
              <a:ext uri="{FF2B5EF4-FFF2-40B4-BE49-F238E27FC236}">
                <a16:creationId xmlns:a16="http://schemas.microsoft.com/office/drawing/2014/main" id="{6A2DDEB1-F877-4724-84B9-FA9EADF9B37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656571" y="1449390"/>
            <a:ext cx="7535429" cy="475138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/>
              <a:t>Павел Лавренко </a:t>
            </a:r>
          </a:p>
          <a:p>
            <a:br>
              <a:rPr lang="en-US" dirty="0"/>
            </a:br>
            <a:r>
              <a:rPr lang="ru-RU" dirty="0"/>
              <a:t>Руководитель направления «Цифровые решения для транспорта», ООО «Сименс Мобильность»</a:t>
            </a:r>
            <a:endParaRPr lang="en-US" dirty="0"/>
          </a:p>
          <a:p>
            <a:br>
              <a:rPr lang="en-US" dirty="0"/>
            </a:br>
            <a:r>
              <a:rPr lang="ru-RU" dirty="0"/>
              <a:t>Тел.</a:t>
            </a:r>
            <a:r>
              <a:rPr lang="en-US" dirty="0"/>
              <a:t>: +7 985 638 51 37</a:t>
            </a:r>
            <a:endParaRPr lang="ru-RU" dirty="0"/>
          </a:p>
          <a:p>
            <a:r>
              <a:rPr lang="en-US" dirty="0"/>
              <a:t>E-mail:</a:t>
            </a:r>
            <a:r>
              <a:rPr lang="ru-RU" dirty="0"/>
              <a:t> </a:t>
            </a:r>
            <a:r>
              <a:rPr lang="en-US" dirty="0">
                <a:hlinkClick r:id="rId6"/>
              </a:rPr>
              <a:t>pavel.lavrenko@siemens.com</a:t>
            </a:r>
            <a:endParaRPr lang="en-US" dirty="0"/>
          </a:p>
          <a:p>
            <a:endParaRPr lang="en-US" dirty="0"/>
          </a:p>
        </p:txBody>
      </p:sp>
      <p:sp>
        <p:nvSpPr>
          <p:cNvPr id="10" name="cdtTextBox 4 Id5">
            <a:extLst>
              <a:ext uri="{FF2B5EF4-FFF2-40B4-BE49-F238E27FC236}">
                <a16:creationId xmlns:a16="http://schemas.microsoft.com/office/drawing/2014/main" id="{81F09685-50A2-4CC5-9F2A-2315A38CC8B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07791" y="5594817"/>
            <a:ext cx="7539873" cy="569607"/>
          </a:xfrm>
          <a:prstGeom prst="rect">
            <a:avLst/>
          </a:prstGeom>
          <a:noFill/>
        </p:spPr>
        <p:txBody>
          <a:bodyPr wrap="square" lIns="251869" tIns="0" rIns="179906" bIns="143925" rtlCol="0" anchor="b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US" sz="1799" b="1" dirty="0">
                <a:solidFill>
                  <a:srgbClr val="000000"/>
                </a:solidFill>
              </a:rPr>
              <a:t>siemens.com/mobility</a:t>
            </a:r>
            <a:endParaRPr lang="en-US" sz="1799" dirty="0">
              <a:solidFill>
                <a:srgbClr val="000000"/>
              </a:solidFill>
            </a:endParaRPr>
          </a:p>
        </p:txBody>
      </p:sp>
      <p:sp>
        <p:nvSpPr>
          <p:cNvPr id="11" name="cdtTextBox 2 Id3">
            <a:extLst>
              <a:ext uri="{FF2B5EF4-FFF2-40B4-BE49-F238E27FC236}">
                <a16:creationId xmlns:a16="http://schemas.microsoft.com/office/drawing/2014/main" id="{5BE3BF7F-FCDF-4E59-8FF2-09F144E3B89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 rot="16200000">
            <a:off x="12192000" y="6164425"/>
            <a:ext cx="1587" cy="2117"/>
          </a:xfrm>
          <a:prstGeom prst="rect">
            <a:avLst/>
          </a:prstGeom>
          <a:noFill/>
        </p:spPr>
        <p:txBody>
          <a:bodyPr wrap="none" lIns="71963" tIns="0" rIns="0" bIns="35981" rtlCol="0" anchor="b" anchorCtr="0">
            <a:noAutofit/>
          </a:bodyPr>
          <a:lstStyle/>
          <a:p>
            <a:pPr>
              <a:lnSpc>
                <a:spcPct val="110000"/>
              </a:lnSpc>
            </a:pP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12" name="cdtTextBox 2 Id13">
            <a:extLst>
              <a:ext uri="{FF2B5EF4-FFF2-40B4-BE49-F238E27FC236}">
                <a16:creationId xmlns:a16="http://schemas.microsoft.com/office/drawing/2014/main" id="{38FE6605-9BA6-4C5E-84F6-7DF380F94D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 rot="16200000">
            <a:off x="12192000" y="6164425"/>
            <a:ext cx="1587" cy="1587"/>
          </a:xfrm>
          <a:prstGeom prst="rect">
            <a:avLst/>
          </a:prstGeom>
          <a:noFill/>
        </p:spPr>
        <p:txBody>
          <a:bodyPr wrap="none" lIns="71963" tIns="0" rIns="0" bIns="35981" rtlCol="0" anchor="b" anchorCtr="0">
            <a:noAutofit/>
          </a:bodyPr>
          <a:lstStyle/>
          <a:p>
            <a:pPr>
              <a:lnSpc>
                <a:spcPct val="110000"/>
              </a:lnSpc>
            </a:pPr>
            <a:endParaRPr lang="en-US" sz="600" dirty="0">
              <a:solidFill>
                <a:srgbClr val="000000"/>
              </a:solidFill>
            </a:endParaRPr>
          </a:p>
        </p:txBody>
      </p:sp>
      <p:pic>
        <p:nvPicPr>
          <p:cNvPr id="13" name="Bildplatzhalter 9">
            <a:extLst>
              <a:ext uri="{FF2B5EF4-FFF2-40B4-BE49-F238E27FC236}">
                <a16:creationId xmlns:a16="http://schemas.microsoft.com/office/drawing/2014/main" id="{8CAAC929-4E3A-48ED-B2AD-B46C1597F9E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40899"/>
            <a:ext cx="4512500" cy="4748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68597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>
            <a:extLst>
              <a:ext uri="{FF2B5EF4-FFF2-40B4-BE49-F238E27FC236}">
                <a16:creationId xmlns:a16="http://schemas.microsoft.com/office/drawing/2014/main" id="{61017B1E-4EE9-4623-9E08-9BCB723DC1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8674" y="1144861"/>
            <a:ext cx="6090540" cy="3555935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ереход от классического к цифровому обслуживанию </a:t>
            </a:r>
            <a:br>
              <a:rPr lang="ru-RU" dirty="0"/>
            </a:br>
            <a:r>
              <a:rPr lang="ru-RU" dirty="0"/>
              <a:t>инфраструктуры железных дорог</a:t>
            </a:r>
            <a:endParaRPr lang="en-US" dirty="0"/>
          </a:p>
        </p:txBody>
      </p:sp>
      <p:pic>
        <p:nvPicPr>
          <p:cNvPr id="56" name="Picture 3">
            <a:extLst>
              <a:ext uri="{FF2B5EF4-FFF2-40B4-BE49-F238E27FC236}">
                <a16:creationId xmlns:a16="http://schemas.microsoft.com/office/drawing/2014/main" id="{B1668167-8C79-4DEC-B413-5EBABED36D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6896"/>
          <a:stretch>
            <a:fillRect/>
          </a:stretch>
        </p:blipFill>
        <p:spPr bwMode="auto">
          <a:xfrm>
            <a:off x="537416" y="1166108"/>
            <a:ext cx="5395236" cy="3540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" name="Rechteck 43">
            <a:extLst>
              <a:ext uri="{FF2B5EF4-FFF2-40B4-BE49-F238E27FC236}">
                <a16:creationId xmlns:a16="http://schemas.microsoft.com/office/drawing/2014/main" id="{00FB7E13-69AB-4D7E-8C19-A3557FC6F33F}"/>
              </a:ext>
            </a:extLst>
          </p:cNvPr>
          <p:cNvSpPr/>
          <p:nvPr/>
        </p:nvSpPr>
        <p:spPr bwMode="auto">
          <a:xfrm>
            <a:off x="7963041" y="4185237"/>
            <a:ext cx="3646176" cy="1884650"/>
          </a:xfrm>
          <a:prstGeom prst="rect">
            <a:avLst/>
          </a:prstGeom>
          <a:solidFill>
            <a:srgbClr val="FFFFFF">
              <a:alpha val="74000"/>
            </a:srgbClr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ヒラギノ角ゴ Pro W3" charset="0"/>
            </a:endParaRPr>
          </a:p>
        </p:txBody>
      </p:sp>
      <p:sp>
        <p:nvSpPr>
          <p:cNvPr id="58" name="Rechteck 4">
            <a:extLst>
              <a:ext uri="{FF2B5EF4-FFF2-40B4-BE49-F238E27FC236}">
                <a16:creationId xmlns:a16="http://schemas.microsoft.com/office/drawing/2014/main" id="{BE5AFA36-767D-4F72-9547-3E22A976945C}"/>
              </a:ext>
            </a:extLst>
          </p:cNvPr>
          <p:cNvSpPr/>
          <p:nvPr/>
        </p:nvSpPr>
        <p:spPr bwMode="auto">
          <a:xfrm>
            <a:off x="537414" y="4168303"/>
            <a:ext cx="4108892" cy="1901593"/>
          </a:xfrm>
          <a:prstGeom prst="rect">
            <a:avLst/>
          </a:prstGeom>
          <a:solidFill>
            <a:srgbClr val="879BAA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3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ヒラギノ角ゴ Pro W3" charset="0"/>
            </a:endParaRPr>
          </a:p>
        </p:txBody>
      </p:sp>
      <p:sp>
        <p:nvSpPr>
          <p:cNvPr id="59" name="Parallelogramm 5">
            <a:extLst>
              <a:ext uri="{FF2B5EF4-FFF2-40B4-BE49-F238E27FC236}">
                <a16:creationId xmlns:a16="http://schemas.microsoft.com/office/drawing/2014/main" id="{9AED5094-DC5C-4BDD-91EE-D64C0287FC1F}"/>
              </a:ext>
            </a:extLst>
          </p:cNvPr>
          <p:cNvSpPr/>
          <p:nvPr/>
        </p:nvSpPr>
        <p:spPr bwMode="auto">
          <a:xfrm>
            <a:off x="2727032" y="1159801"/>
            <a:ext cx="6526724" cy="4910391"/>
          </a:xfrm>
          <a:prstGeom prst="parallelogram">
            <a:avLst/>
          </a:prstGeom>
          <a:solidFill>
            <a:srgbClr val="ADBECB">
              <a:lumMod val="50000"/>
            </a:srgbClr>
          </a:solidFill>
          <a:ln>
            <a:noFill/>
          </a:ln>
          <a:effectLst/>
        </p:spPr>
        <p:txBody>
          <a:bodyPr wrap="square" lIns="611681" tIns="71963" rIns="107944" bIns="71963" numCol="1" spcCol="72000" rtlCol="0" anchor="t" anchorCtr="0">
            <a:noAutofit/>
          </a:bodyPr>
          <a:lstStyle/>
          <a:p>
            <a:pPr marL="0" marR="0" lvl="0" indent="0" algn="ctr" defTabSz="913258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99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60" name="Ellipse 7">
            <a:extLst>
              <a:ext uri="{FF2B5EF4-FFF2-40B4-BE49-F238E27FC236}">
                <a16:creationId xmlns:a16="http://schemas.microsoft.com/office/drawing/2014/main" id="{6F3B0F2C-4FAA-4623-92E6-1154834D7FEF}"/>
              </a:ext>
            </a:extLst>
          </p:cNvPr>
          <p:cNvSpPr/>
          <p:nvPr/>
        </p:nvSpPr>
        <p:spPr bwMode="auto">
          <a:xfrm>
            <a:off x="1063497" y="3645998"/>
            <a:ext cx="1753704" cy="999874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3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monospaced for SAP" panose="020B0609020202030204" pitchFamily="49" charset="0"/>
                <a:ea typeface="Gungsuh" panose="02030600000101010101" pitchFamily="18" charset="-127"/>
              </a:rPr>
              <a:t>Классический подход 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monospaced for SAP" panose="020B0609020202030204" pitchFamily="49" charset="0"/>
              <a:ea typeface="Gungsuh" panose="02030600000101010101" pitchFamily="18" charset="-127"/>
            </a:endParaRPr>
          </a:p>
        </p:txBody>
      </p:sp>
      <p:sp>
        <p:nvSpPr>
          <p:cNvPr id="61" name="Textfeld 9">
            <a:extLst>
              <a:ext uri="{FF2B5EF4-FFF2-40B4-BE49-F238E27FC236}">
                <a16:creationId xmlns:a16="http://schemas.microsoft.com/office/drawing/2014/main" id="{B2D59ACA-AECA-4D06-AF27-1ABAE7119CC1}"/>
              </a:ext>
            </a:extLst>
          </p:cNvPr>
          <p:cNvSpPr txBox="1"/>
          <p:nvPr/>
        </p:nvSpPr>
        <p:spPr>
          <a:xfrm>
            <a:off x="494873" y="4742709"/>
            <a:ext cx="2446651" cy="1636488"/>
          </a:xfrm>
          <a:prstGeom prst="rect">
            <a:avLst/>
          </a:prstGeom>
          <a:noFill/>
        </p:spPr>
        <p:txBody>
          <a:bodyPr wrap="square" lIns="0" tIns="35955" rIns="0" bIns="0" rtlCol="0">
            <a:spAutoFit/>
          </a:bodyPr>
          <a:lstStyle/>
          <a:p>
            <a:pPr marL="266367" indent="-158551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rgbClr val="FFFFFF"/>
                </a:solidFill>
                <a:latin typeface="+mj-lt"/>
                <a:ea typeface="Gungsuh" panose="02030600000101010101" pitchFamily="18" charset="-127"/>
              </a:rPr>
              <a:t>Профилактическое обслуживание</a:t>
            </a:r>
            <a:endParaRPr lang="en-US" sz="1200" b="1" dirty="0">
              <a:solidFill>
                <a:srgbClr val="FFFFFF"/>
              </a:solidFill>
              <a:latin typeface="+mj-lt"/>
              <a:ea typeface="Gungsuh" panose="02030600000101010101" pitchFamily="18" charset="-127"/>
            </a:endParaRPr>
          </a:p>
          <a:p>
            <a:pPr marL="266367" indent="-158551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rgbClr val="FFFFFF"/>
                </a:solidFill>
                <a:latin typeface="+mj-lt"/>
                <a:ea typeface="Gungsuh" panose="02030600000101010101" pitchFamily="18" charset="-127"/>
              </a:rPr>
              <a:t>Срочная закупка и доставка запасных частей на объект </a:t>
            </a:r>
            <a:endParaRPr lang="en-US" sz="1200" b="1" dirty="0">
              <a:solidFill>
                <a:srgbClr val="FFFFFF"/>
              </a:solidFill>
              <a:latin typeface="+mj-lt"/>
              <a:ea typeface="Gungsuh" panose="02030600000101010101" pitchFamily="18" charset="-127"/>
            </a:endParaRPr>
          </a:p>
          <a:p>
            <a:pPr marL="266367" indent="-158551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rgbClr val="FFFFFF"/>
                </a:solidFill>
                <a:latin typeface="+mj-lt"/>
                <a:ea typeface="Gungsuh" panose="02030600000101010101" pitchFamily="18" charset="-127"/>
              </a:rPr>
              <a:t>Регулярные ремонты и модернизации</a:t>
            </a:r>
          </a:p>
          <a:p>
            <a:pPr marL="266367" indent="-158551">
              <a:spcBef>
                <a:spcPts val="300"/>
              </a:spcBef>
              <a:buClr>
                <a:srgbClr val="FFFFFF"/>
              </a:buClr>
              <a:buFont typeface="Wingdings" panose="05000000000000000000" pitchFamily="2" charset="2"/>
              <a:buChar char="§"/>
            </a:pPr>
            <a:endParaRPr lang="en-US" sz="1099" b="1" dirty="0">
              <a:solidFill>
                <a:srgbClr val="FFFFFF"/>
              </a:solidFill>
              <a:latin typeface="Arial monospaced for SAP" panose="020B0609020202030204" pitchFamily="49" charset="0"/>
              <a:ea typeface="Gungsuh" panose="02030600000101010101" pitchFamily="18" charset="-127"/>
            </a:endParaRPr>
          </a:p>
          <a:p>
            <a:pPr marL="266367" indent="-158551">
              <a:spcBef>
                <a:spcPts val="300"/>
              </a:spcBef>
              <a:buClr>
                <a:srgbClr val="FFFFFF"/>
              </a:buClr>
            </a:pPr>
            <a:endParaRPr lang="en-US" sz="1099" b="1" dirty="0">
              <a:solidFill>
                <a:srgbClr val="FFFFFF"/>
              </a:solidFill>
              <a:latin typeface="Arial monospaced for SAP" panose="020B0609020202030204" pitchFamily="49" charset="0"/>
              <a:ea typeface="Gungsuh" panose="02030600000101010101" pitchFamily="18" charset="-127"/>
            </a:endParaRPr>
          </a:p>
        </p:txBody>
      </p:sp>
      <p:sp>
        <p:nvSpPr>
          <p:cNvPr id="62" name="Textfeld 42">
            <a:extLst>
              <a:ext uri="{FF2B5EF4-FFF2-40B4-BE49-F238E27FC236}">
                <a16:creationId xmlns:a16="http://schemas.microsoft.com/office/drawing/2014/main" id="{AA63031A-19A6-4B7D-AA89-B2CFA6EC6902}"/>
              </a:ext>
            </a:extLst>
          </p:cNvPr>
          <p:cNvSpPr txBox="1"/>
          <p:nvPr/>
        </p:nvSpPr>
        <p:spPr>
          <a:xfrm>
            <a:off x="3235034" y="5040930"/>
            <a:ext cx="4590271" cy="9382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58596" marR="0" lvl="0" indent="-177711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Единый центр управления и обслуживания </a:t>
            </a:r>
            <a:endParaRPr kumimoji="0" lang="en-US" sz="1399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358596" marR="0" lvl="0" indent="-177711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Управление железнодорожными активами </a:t>
            </a:r>
            <a:endParaRPr kumimoji="0" lang="en-US" sz="1399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  <a:p>
            <a:pPr marL="358596" marR="0" lvl="0" indent="-177711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Подтверждение технической готовности и достижения </a:t>
            </a:r>
            <a:r>
              <a:rPr kumimoji="0" lang="en-US" sz="1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KPI</a:t>
            </a:r>
            <a:r>
              <a:rPr kumimoji="0" lang="ru-RU" sz="1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</a:p>
        </p:txBody>
      </p:sp>
      <p:sp>
        <p:nvSpPr>
          <p:cNvPr id="63" name="Textfeld 46">
            <a:extLst>
              <a:ext uri="{FF2B5EF4-FFF2-40B4-BE49-F238E27FC236}">
                <a16:creationId xmlns:a16="http://schemas.microsoft.com/office/drawing/2014/main" id="{F519EB68-EA2A-44E3-B070-E617CAD72639}"/>
              </a:ext>
            </a:extLst>
          </p:cNvPr>
          <p:cNvSpPr txBox="1"/>
          <p:nvPr/>
        </p:nvSpPr>
        <p:spPr>
          <a:xfrm>
            <a:off x="8326118" y="4686356"/>
            <a:ext cx="3292720" cy="13458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729" indent="-342729">
              <a:spcBef>
                <a:spcPts val="300"/>
              </a:spcBef>
              <a:buClr>
                <a:srgbClr val="879BAA"/>
              </a:buClr>
              <a:buFont typeface="Arial" panose="020B0604020202020204" pitchFamily="34" charset="0"/>
              <a:buChar char="•"/>
            </a:pPr>
            <a:r>
              <a:rPr lang="en-US" sz="1699" b="1" dirty="0">
                <a:solidFill>
                  <a:srgbClr val="00646E"/>
                </a:solidFill>
                <a:latin typeface="Siemens Sans SC Black" pitchFamily="2" charset="0"/>
              </a:rPr>
              <a:t>100 % </a:t>
            </a:r>
            <a:r>
              <a:rPr lang="ru-RU" sz="1699" b="1" dirty="0">
                <a:solidFill>
                  <a:srgbClr val="00646E"/>
                </a:solidFill>
                <a:latin typeface="Siemens Sans SC Black" pitchFamily="2" charset="0"/>
              </a:rPr>
              <a:t>техническая готовность парка подвижного состава и инфраструктуры</a:t>
            </a:r>
            <a:endParaRPr lang="en-US" sz="1699" b="1" dirty="0">
              <a:solidFill>
                <a:srgbClr val="00646E"/>
              </a:solidFill>
              <a:latin typeface="Siemens Sans SC Black" pitchFamily="2" charset="0"/>
            </a:endParaRPr>
          </a:p>
          <a:p>
            <a:pPr marL="342729" indent="-342729">
              <a:spcBef>
                <a:spcPts val="300"/>
              </a:spcBef>
              <a:buClr>
                <a:srgbClr val="879BAA"/>
              </a:buClr>
              <a:buFont typeface="Arial" panose="020B0604020202020204" pitchFamily="34" charset="0"/>
              <a:buChar char="•"/>
            </a:pPr>
            <a:r>
              <a:rPr lang="ru-RU" sz="1699" b="1" dirty="0">
                <a:solidFill>
                  <a:srgbClr val="00646E"/>
                </a:solidFill>
                <a:latin typeface="Siemens Sans SC Black" pitchFamily="2" charset="0"/>
              </a:rPr>
              <a:t>Оптимизация расходов операторов </a:t>
            </a:r>
            <a:endParaRPr lang="en-US" sz="1699" b="1" dirty="0">
              <a:solidFill>
                <a:srgbClr val="00646E"/>
              </a:solidFill>
              <a:latin typeface="Siemens Sans SC Black" pitchFamily="2" charset="0"/>
            </a:endParaRPr>
          </a:p>
        </p:txBody>
      </p:sp>
      <p:sp>
        <p:nvSpPr>
          <p:cNvPr id="64" name="Richtungspfeil 51">
            <a:extLst>
              <a:ext uri="{FF2B5EF4-FFF2-40B4-BE49-F238E27FC236}">
                <a16:creationId xmlns:a16="http://schemas.microsoft.com/office/drawing/2014/main" id="{71E02D2B-A7C1-4E46-86D4-AD1EE7A887DD}"/>
              </a:ext>
            </a:extLst>
          </p:cNvPr>
          <p:cNvSpPr/>
          <p:nvPr/>
        </p:nvSpPr>
        <p:spPr bwMode="auto">
          <a:xfrm>
            <a:off x="537415" y="6091351"/>
            <a:ext cx="180880" cy="287849"/>
          </a:xfrm>
          <a:prstGeom prst="homePlate">
            <a:avLst>
              <a:gd name="adj" fmla="val 56667"/>
            </a:avLst>
          </a:prstGeom>
          <a:solidFill>
            <a:srgbClr val="00646E"/>
          </a:solidFill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258"/>
            <a:endParaRPr lang="en-US" sz="1799" dirty="0">
              <a:solidFill>
                <a:srgbClr val="000000"/>
              </a:solidFill>
              <a:ea typeface="ヒラギノ角ゴ Pro W3" charset="0"/>
            </a:endParaRPr>
          </a:p>
        </p:txBody>
      </p:sp>
      <p:sp>
        <p:nvSpPr>
          <p:cNvPr id="65" name="Eingekerbter Richtungspfeil 52">
            <a:extLst>
              <a:ext uri="{FF2B5EF4-FFF2-40B4-BE49-F238E27FC236}">
                <a16:creationId xmlns:a16="http://schemas.microsoft.com/office/drawing/2014/main" id="{5BEEBE65-68E7-42F9-A2DC-6AEACC0167B6}"/>
              </a:ext>
            </a:extLst>
          </p:cNvPr>
          <p:cNvSpPr/>
          <p:nvPr/>
        </p:nvSpPr>
        <p:spPr bwMode="auto">
          <a:xfrm>
            <a:off x="537416" y="6091343"/>
            <a:ext cx="11071797" cy="287850"/>
          </a:xfrm>
          <a:prstGeom prst="chevron">
            <a:avLst>
              <a:gd name="adj" fmla="val 56451"/>
            </a:avLst>
          </a:prstGeom>
          <a:solidFill>
            <a:schemeClr val="accent4">
              <a:lumMod val="75000"/>
            </a:schemeClr>
          </a:solidFill>
          <a:ln w="9525">
            <a:solidFill>
              <a:srgbClr val="32A0A0"/>
            </a:solidFill>
            <a:miter lim="800000"/>
            <a:headEnd/>
            <a:tailEnd/>
          </a:ln>
          <a:effectLst/>
        </p:spPr>
        <p:txBody>
          <a:bodyPr lIns="107944" tIns="71963" rIns="107944" bIns="71963" rtlCol="0" anchor="t"/>
          <a:lstStyle/>
          <a:p>
            <a:pPr marL="0" marR="0" lvl="0" indent="0" algn="ctr" defTabSz="91325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Цифровая трансформация в обслуживании инфраструктуры железных дорог  </a:t>
            </a:r>
            <a:endParaRPr kumimoji="0" lang="en-US" sz="1399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cxnSp>
        <p:nvCxnSpPr>
          <p:cNvPr id="66" name="Gerade Verbindung 6">
            <a:extLst>
              <a:ext uri="{FF2B5EF4-FFF2-40B4-BE49-F238E27FC236}">
                <a16:creationId xmlns:a16="http://schemas.microsoft.com/office/drawing/2014/main" id="{629BFC3A-67E0-4A08-A6D0-DCAB566836AD}"/>
              </a:ext>
            </a:extLst>
          </p:cNvPr>
          <p:cNvCxnSpPr/>
          <p:nvPr/>
        </p:nvCxnSpPr>
        <p:spPr bwMode="auto">
          <a:xfrm>
            <a:off x="527897" y="4168295"/>
            <a:ext cx="2659265" cy="0"/>
          </a:xfrm>
          <a:prstGeom prst="line">
            <a:avLst/>
          </a:prstGeom>
          <a:solidFill>
            <a:srgbClr val="000000"/>
          </a:solidFill>
          <a:ln w="28575" cap="flat" cmpd="sng" algn="ctr">
            <a:solidFill>
              <a:srgbClr val="FFFFFF"/>
            </a:solidFill>
            <a:prstDash val="sys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67" name="Gruppieren 58">
            <a:extLst>
              <a:ext uri="{FF2B5EF4-FFF2-40B4-BE49-F238E27FC236}">
                <a16:creationId xmlns:a16="http://schemas.microsoft.com/office/drawing/2014/main" id="{1D451F5B-2E8B-4283-B658-3D4528FDD6BC}"/>
              </a:ext>
            </a:extLst>
          </p:cNvPr>
          <p:cNvGrpSpPr/>
          <p:nvPr/>
        </p:nvGrpSpPr>
        <p:grpSpPr>
          <a:xfrm>
            <a:off x="9253752" y="3777961"/>
            <a:ext cx="1727144" cy="915147"/>
            <a:chOff x="10390378" y="3986886"/>
            <a:chExt cx="1119528" cy="863106"/>
          </a:xfrm>
        </p:grpSpPr>
        <p:sp>
          <p:nvSpPr>
            <p:cNvPr id="68" name="Ellipse 40">
              <a:extLst>
                <a:ext uri="{FF2B5EF4-FFF2-40B4-BE49-F238E27FC236}">
                  <a16:creationId xmlns:a16="http://schemas.microsoft.com/office/drawing/2014/main" id="{77A7E2A3-F75F-4D9B-9D99-A0DD208E0F72}"/>
                </a:ext>
              </a:extLst>
            </p:cNvPr>
            <p:cNvSpPr/>
            <p:nvPr/>
          </p:nvSpPr>
          <p:spPr bwMode="auto">
            <a:xfrm>
              <a:off x="10390378" y="3986886"/>
              <a:ext cx="1044000" cy="758265"/>
            </a:xfrm>
            <a:prstGeom prst="chevron">
              <a:avLst/>
            </a:prstGeom>
            <a:solidFill>
              <a:srgbClr val="00646E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cript" panose="020B0504020000000003" pitchFamily="34" charset="0"/>
                <a:ea typeface="ヒラギノ角ゴ Pro W3" charset="0"/>
                <a:cs typeface="MV Boli" panose="02000500030200090000" pitchFamily="2" charset="0"/>
              </a:endParaRPr>
            </a:p>
          </p:txBody>
        </p:sp>
        <p:sp>
          <p:nvSpPr>
            <p:cNvPr id="69" name="Textfeld 57">
              <a:extLst>
                <a:ext uri="{FF2B5EF4-FFF2-40B4-BE49-F238E27FC236}">
                  <a16:creationId xmlns:a16="http://schemas.microsoft.com/office/drawing/2014/main" id="{CCB0B24B-2D32-48CB-BD9C-A06929ADECC5}"/>
                </a:ext>
              </a:extLst>
            </p:cNvPr>
            <p:cNvSpPr txBox="1"/>
            <p:nvPr/>
          </p:nvSpPr>
          <p:spPr>
            <a:xfrm>
              <a:off x="10408892" y="4103287"/>
              <a:ext cx="1101014" cy="74670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99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cript" panose="020B0504020000000003" pitchFamily="34" charset="0"/>
                  <a:ea typeface="ヒラギノ角ゴ Pro W3" charset="0"/>
                  <a:cs typeface="MV Boli" panose="02000500030200090000" pitchFamily="2" charset="0"/>
                </a:rPr>
                <a:t>    Next</a:t>
              </a:r>
              <a:r>
                <a:rPr kumimoji="0" lang="de-DE" sz="199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cript" panose="020B0504020000000003" pitchFamily="34" charset="0"/>
                  <a:ea typeface="ヒラギノ角ゴ Pro W3" charset="0"/>
                </a:rPr>
                <a:t>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9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Script" panose="020B0504020000000003" pitchFamily="34" charset="0"/>
                  <a:ea typeface="ヒラギノ角ゴ Pro W3" charset="0"/>
                  <a:cs typeface="MV Boli" panose="02000500030200090000" pitchFamily="2" charset="0"/>
                </a:rPr>
                <a:t>Generation</a:t>
              </a:r>
              <a:endParaRPr kumimoji="0" lang="en-US" sz="12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Script" panose="020B0504020000000003" pitchFamily="34" charset="0"/>
                <a:ea typeface="ヒラギノ角ゴ Pro W3" charset="0"/>
                <a:cs typeface="MV Boli" panose="02000500030200090000" pitchFamily="2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  <a:defRPr/>
              </a:pPr>
              <a:endPara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cxnSp>
        <p:nvCxnSpPr>
          <p:cNvPr id="70" name="Gerade Verbindung 49">
            <a:extLst>
              <a:ext uri="{FF2B5EF4-FFF2-40B4-BE49-F238E27FC236}">
                <a16:creationId xmlns:a16="http://schemas.microsoft.com/office/drawing/2014/main" id="{57539601-79A1-488E-A8ED-F8106F1CE197}"/>
              </a:ext>
            </a:extLst>
          </p:cNvPr>
          <p:cNvCxnSpPr/>
          <p:nvPr/>
        </p:nvCxnSpPr>
        <p:spPr bwMode="auto">
          <a:xfrm>
            <a:off x="10864368" y="4177816"/>
            <a:ext cx="671850" cy="2137"/>
          </a:xfrm>
          <a:prstGeom prst="line">
            <a:avLst/>
          </a:prstGeom>
          <a:solidFill>
            <a:srgbClr val="000000"/>
          </a:solidFill>
          <a:ln w="28575" cap="flat" cmpd="sng" algn="ctr">
            <a:solidFill>
              <a:srgbClr val="ADBECB">
                <a:lumMod val="50000"/>
              </a:srgbClr>
            </a:solidFill>
            <a:prstDash val="sysDash"/>
            <a:round/>
            <a:headEnd type="none" w="med" len="med"/>
            <a:tailEnd type="triangle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2" name="Rechteck 23">
            <a:extLst>
              <a:ext uri="{FF2B5EF4-FFF2-40B4-BE49-F238E27FC236}">
                <a16:creationId xmlns:a16="http://schemas.microsoft.com/office/drawing/2014/main" id="{818A1190-B889-4339-B8D0-E614C42313F3}"/>
              </a:ext>
            </a:extLst>
          </p:cNvPr>
          <p:cNvSpPr/>
          <p:nvPr/>
        </p:nvSpPr>
        <p:spPr>
          <a:xfrm>
            <a:off x="4150390" y="4036411"/>
            <a:ext cx="3342444" cy="8728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ru-RU" sz="2399" b="1" dirty="0">
                <a:solidFill>
                  <a:srgbClr val="4BB9B9"/>
                </a:solidFill>
                <a:effectLst>
                  <a:glow rad="228600">
                    <a:srgbClr val="005F87">
                      <a:satMod val="175000"/>
                      <a:alpha val="28000"/>
                    </a:srgbClr>
                  </a:glow>
                </a:effectLst>
                <a:ea typeface="Arial Unicode MS" panose="020B0604020202020204" pitchFamily="34" charset="-128"/>
                <a:cs typeface="Arial Unicode MS" panose="020B0604020202020204" pitchFamily="34" charset="-128"/>
              </a:rPr>
              <a:t>Инновационные </a:t>
            </a:r>
          </a:p>
          <a:p>
            <a:pPr algn="ctr">
              <a:lnSpc>
                <a:spcPct val="110000"/>
              </a:lnSpc>
              <a:spcBef>
                <a:spcPct val="0"/>
              </a:spcBef>
            </a:pPr>
            <a:r>
              <a:rPr lang="ru-RU" sz="2399" b="1" dirty="0">
                <a:solidFill>
                  <a:srgbClr val="4BB9B9"/>
                </a:solidFill>
                <a:effectLst>
                  <a:glow rad="228600">
                    <a:srgbClr val="005F87">
                      <a:satMod val="175000"/>
                      <a:alpha val="28000"/>
                    </a:srgbClr>
                  </a:glow>
                </a:effectLst>
                <a:ea typeface="Arial Unicode MS" panose="020B0604020202020204" pitchFamily="34" charset="-128"/>
                <a:cs typeface="Arial Unicode MS" panose="020B0604020202020204" pitchFamily="34" charset="-128"/>
              </a:rPr>
              <a:t>цифровые сервисы </a:t>
            </a:r>
            <a:endParaRPr lang="en-US" sz="2399" b="1" dirty="0">
              <a:solidFill>
                <a:srgbClr val="4BB9B9"/>
              </a:solidFill>
              <a:effectLst>
                <a:glow rad="228600">
                  <a:srgbClr val="005F87">
                    <a:satMod val="175000"/>
                    <a:alpha val="28000"/>
                  </a:srgbClr>
                </a:glow>
              </a:effectLst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73" name="Gruppieren 18">
            <a:extLst>
              <a:ext uri="{FF2B5EF4-FFF2-40B4-BE49-F238E27FC236}">
                <a16:creationId xmlns:a16="http://schemas.microsoft.com/office/drawing/2014/main" id="{3686E5FF-389C-4BD1-96BF-8D1EDE0B07C2}"/>
              </a:ext>
            </a:extLst>
          </p:cNvPr>
          <p:cNvGrpSpPr/>
          <p:nvPr/>
        </p:nvGrpSpPr>
        <p:grpSpPr>
          <a:xfrm>
            <a:off x="6883428" y="1561443"/>
            <a:ext cx="2102302" cy="2153311"/>
            <a:chOff x="7816169" y="1591135"/>
            <a:chExt cx="2103397" cy="2154432"/>
          </a:xfrm>
        </p:grpSpPr>
        <p:grpSp>
          <p:nvGrpSpPr>
            <p:cNvPr id="74" name="Gruppieren 19">
              <a:extLst>
                <a:ext uri="{FF2B5EF4-FFF2-40B4-BE49-F238E27FC236}">
                  <a16:creationId xmlns:a16="http://schemas.microsoft.com/office/drawing/2014/main" id="{8E902FA6-E933-4C2E-B1A3-76C2B4C22F2C}"/>
                </a:ext>
              </a:extLst>
            </p:cNvPr>
            <p:cNvGrpSpPr/>
            <p:nvPr/>
          </p:nvGrpSpPr>
          <p:grpSpPr>
            <a:xfrm>
              <a:off x="7816169" y="1591135"/>
              <a:ext cx="2103397" cy="2154432"/>
              <a:chOff x="7816169" y="1591135"/>
              <a:chExt cx="2103397" cy="2154432"/>
            </a:xfrm>
          </p:grpSpPr>
          <p:sp>
            <p:nvSpPr>
              <p:cNvPr id="76" name="Flussdiagramm: Zusammenführen 27">
                <a:extLst>
                  <a:ext uri="{FF2B5EF4-FFF2-40B4-BE49-F238E27FC236}">
                    <a16:creationId xmlns:a16="http://schemas.microsoft.com/office/drawing/2014/main" id="{29A795A8-3421-4C91-9DA1-446A004D4110}"/>
                  </a:ext>
                </a:extLst>
              </p:cNvPr>
              <p:cNvSpPr/>
              <p:nvPr/>
            </p:nvSpPr>
            <p:spPr bwMode="auto">
              <a:xfrm rot="8693212">
                <a:off x="7816169" y="1632608"/>
                <a:ext cx="1046424" cy="346415"/>
              </a:xfrm>
              <a:prstGeom prst="flowChartMerge">
                <a:avLst/>
              </a:prstGeom>
              <a:solidFill>
                <a:srgbClr val="ADBECB">
                  <a:lumMod val="50000"/>
                </a:srgbClr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3258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ヒラギノ角ゴ Pro W3" charset="0"/>
                </a:endParaRPr>
              </a:p>
            </p:txBody>
          </p:sp>
          <p:sp>
            <p:nvSpPr>
              <p:cNvPr id="81" name="Arc 4">
                <a:extLst>
                  <a:ext uri="{FF2B5EF4-FFF2-40B4-BE49-F238E27FC236}">
                    <a16:creationId xmlns:a16="http://schemas.microsoft.com/office/drawing/2014/main" id="{48B28FE8-9B29-42C2-BDBA-E5C369D10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9559" y="1907805"/>
                <a:ext cx="1733566" cy="1837762"/>
              </a:xfrm>
              <a:custGeom>
                <a:avLst/>
                <a:gdLst>
                  <a:gd name="G0" fmla="+- 17778 0 0"/>
                  <a:gd name="G1" fmla="+- 21600 0 0"/>
                  <a:gd name="G2" fmla="+- 21600 0 0"/>
                  <a:gd name="T0" fmla="*/ 0 w 25601"/>
                  <a:gd name="T1" fmla="*/ 9332 h 21600"/>
                  <a:gd name="T2" fmla="*/ 25601 w 25601"/>
                  <a:gd name="T3" fmla="*/ 1467 h 21600"/>
                  <a:gd name="T4" fmla="*/ 17778 w 25601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601" h="21600" fill="none" extrusionOk="0">
                    <a:moveTo>
                      <a:pt x="0" y="9332"/>
                    </a:moveTo>
                    <a:cubicBezTo>
                      <a:pt x="4032" y="3488"/>
                      <a:pt x="10678" y="-1"/>
                      <a:pt x="17778" y="0"/>
                    </a:cubicBezTo>
                    <a:cubicBezTo>
                      <a:pt x="20454" y="0"/>
                      <a:pt x="23106" y="497"/>
                      <a:pt x="25601" y="1466"/>
                    </a:cubicBezTo>
                  </a:path>
                  <a:path w="25601" h="21600" stroke="0" extrusionOk="0">
                    <a:moveTo>
                      <a:pt x="0" y="9332"/>
                    </a:moveTo>
                    <a:cubicBezTo>
                      <a:pt x="4032" y="3488"/>
                      <a:pt x="10678" y="-1"/>
                      <a:pt x="17778" y="0"/>
                    </a:cubicBezTo>
                    <a:cubicBezTo>
                      <a:pt x="20454" y="0"/>
                      <a:pt x="23106" y="497"/>
                      <a:pt x="25601" y="1466"/>
                    </a:cubicBezTo>
                    <a:lnTo>
                      <a:pt x="17778" y="21600"/>
                    </a:lnTo>
                    <a:close/>
                  </a:path>
                </a:pathLst>
              </a:custGeom>
              <a:noFill/>
              <a:ln w="57150">
                <a:solidFill>
                  <a:srgbClr val="EB780A"/>
                </a:solidFill>
                <a:round/>
                <a:headEnd type="none" w="med" len="med"/>
                <a:tailEnd type="triangle" w="med" len="med"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Rectangle 116">
                <a:extLst>
                  <a:ext uri="{FF2B5EF4-FFF2-40B4-BE49-F238E27FC236}">
                    <a16:creationId xmlns:a16="http://schemas.microsoft.com/office/drawing/2014/main" id="{FBA36884-4AFF-4502-8917-ED7510A779A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113046" y="1591135"/>
                <a:ext cx="180652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599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itchFamily="34" charset="0"/>
                  </a:rPr>
                  <a:t>Прогнозирование</a:t>
                </a:r>
                <a:endParaRPr kumimoji="0" lang="en-US" sz="159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sp>
          <p:nvSpPr>
            <p:cNvPr id="75" name="Flussdiagramm: Zusammenführen 26">
              <a:extLst>
                <a:ext uri="{FF2B5EF4-FFF2-40B4-BE49-F238E27FC236}">
                  <a16:creationId xmlns:a16="http://schemas.microsoft.com/office/drawing/2014/main" id="{3AE9CAD0-3AAA-4123-BBD0-FC1FCCC6EA51}"/>
                </a:ext>
              </a:extLst>
            </p:cNvPr>
            <p:cNvSpPr/>
            <p:nvPr/>
          </p:nvSpPr>
          <p:spPr bwMode="auto">
            <a:xfrm rot="7905668">
              <a:off x="7789195" y="1876472"/>
              <a:ext cx="607553" cy="346415"/>
            </a:xfrm>
            <a:prstGeom prst="flowChartMerge">
              <a:avLst/>
            </a:prstGeom>
            <a:solidFill>
              <a:srgbClr val="ADBECB">
                <a:lumMod val="50000"/>
              </a:srgb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3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ヒラギノ角ゴ Pro W3" charset="0"/>
              </a:endParaRPr>
            </a:p>
          </p:txBody>
        </p:sp>
      </p:grpSp>
      <p:grpSp>
        <p:nvGrpSpPr>
          <p:cNvPr id="83" name="Gruppieren 26">
            <a:extLst>
              <a:ext uri="{FF2B5EF4-FFF2-40B4-BE49-F238E27FC236}">
                <a16:creationId xmlns:a16="http://schemas.microsoft.com/office/drawing/2014/main" id="{020E6307-CE2B-498D-8716-AFEF72B314AD}"/>
              </a:ext>
            </a:extLst>
          </p:cNvPr>
          <p:cNvGrpSpPr/>
          <p:nvPr/>
        </p:nvGrpSpPr>
        <p:grpSpPr>
          <a:xfrm>
            <a:off x="3713284" y="2356602"/>
            <a:ext cx="1536904" cy="1630240"/>
            <a:chOff x="4322933" y="2676455"/>
            <a:chExt cx="1537704" cy="1631089"/>
          </a:xfrm>
          <a:solidFill>
            <a:srgbClr val="ADBECB">
              <a:lumMod val="50000"/>
            </a:srgbClr>
          </a:solidFill>
        </p:grpSpPr>
        <p:sp>
          <p:nvSpPr>
            <p:cNvPr id="84" name="Flussdiagramm: Zusammenführen 31">
              <a:extLst>
                <a:ext uri="{FF2B5EF4-FFF2-40B4-BE49-F238E27FC236}">
                  <a16:creationId xmlns:a16="http://schemas.microsoft.com/office/drawing/2014/main" id="{4D3B3D06-3A21-4DB5-96CD-9D650D536127}"/>
                </a:ext>
              </a:extLst>
            </p:cNvPr>
            <p:cNvSpPr/>
            <p:nvPr/>
          </p:nvSpPr>
          <p:spPr bwMode="auto">
            <a:xfrm rot="8370828">
              <a:off x="4342945" y="2978079"/>
              <a:ext cx="869297" cy="356997"/>
            </a:xfrm>
            <a:prstGeom prst="flowChartMerge">
              <a:avLst/>
            </a:prstGeom>
            <a:grpFill/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3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ヒラギノ角ゴ Pro W3" charset="0"/>
              </a:endParaRPr>
            </a:p>
          </p:txBody>
        </p:sp>
        <p:sp>
          <p:nvSpPr>
            <p:cNvPr id="85" name="Arc 2">
              <a:extLst>
                <a:ext uri="{FF2B5EF4-FFF2-40B4-BE49-F238E27FC236}">
                  <a16:creationId xmlns:a16="http://schemas.microsoft.com/office/drawing/2014/main" id="{F38C1894-615C-419B-B98A-11DA27FBF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2933" y="3027203"/>
              <a:ext cx="1453287" cy="1280341"/>
            </a:xfrm>
            <a:custGeom>
              <a:avLst/>
              <a:gdLst>
                <a:gd name="G0" fmla="+- 17778 0 0"/>
                <a:gd name="G1" fmla="+- 21600 0 0"/>
                <a:gd name="G2" fmla="+- 21600 0 0"/>
                <a:gd name="T0" fmla="*/ 0 w 25601"/>
                <a:gd name="T1" fmla="*/ 9332 h 21600"/>
                <a:gd name="T2" fmla="*/ 25601 w 25601"/>
                <a:gd name="T3" fmla="*/ 1467 h 21600"/>
                <a:gd name="T4" fmla="*/ 17778 w 25601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601" h="21600" fill="none" extrusionOk="0">
                  <a:moveTo>
                    <a:pt x="0" y="9332"/>
                  </a:moveTo>
                  <a:cubicBezTo>
                    <a:pt x="4032" y="3488"/>
                    <a:pt x="10678" y="-1"/>
                    <a:pt x="17778" y="0"/>
                  </a:cubicBezTo>
                  <a:cubicBezTo>
                    <a:pt x="20454" y="0"/>
                    <a:pt x="23106" y="497"/>
                    <a:pt x="25601" y="1466"/>
                  </a:cubicBezTo>
                </a:path>
                <a:path w="25601" h="21600" stroke="0" extrusionOk="0">
                  <a:moveTo>
                    <a:pt x="0" y="9332"/>
                  </a:moveTo>
                  <a:cubicBezTo>
                    <a:pt x="4032" y="3488"/>
                    <a:pt x="10678" y="-1"/>
                    <a:pt x="17778" y="0"/>
                  </a:cubicBezTo>
                  <a:cubicBezTo>
                    <a:pt x="20454" y="0"/>
                    <a:pt x="23106" y="497"/>
                    <a:pt x="25601" y="1466"/>
                  </a:cubicBezTo>
                  <a:lnTo>
                    <a:pt x="17778" y="21600"/>
                  </a:lnTo>
                  <a:close/>
                </a:path>
              </a:pathLst>
            </a:custGeom>
            <a:grpFill/>
            <a:ln w="57150">
              <a:solidFill>
                <a:srgbClr val="EB780A"/>
              </a:solidFill>
              <a:round/>
              <a:headEnd type="none" w="med" len="med"/>
              <a:tailEnd type="triangle" w="med" len="me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86" name="Rectangle 116">
              <a:extLst>
                <a:ext uri="{FF2B5EF4-FFF2-40B4-BE49-F238E27FC236}">
                  <a16:creationId xmlns:a16="http://schemas.microsoft.com/office/drawing/2014/main" id="{05F0AA15-44A5-4726-B274-E475CC3EEC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30620" y="2676455"/>
              <a:ext cx="1230017" cy="24622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b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9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itchFamily="34" charset="0"/>
                </a:rPr>
                <a:t>Мониторинг</a:t>
              </a:r>
              <a:endParaRPr kumimoji="0" lang="en-US" sz="1599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grpSp>
        <p:nvGrpSpPr>
          <p:cNvPr id="87" name="Gruppieren 48">
            <a:extLst>
              <a:ext uri="{FF2B5EF4-FFF2-40B4-BE49-F238E27FC236}">
                <a16:creationId xmlns:a16="http://schemas.microsoft.com/office/drawing/2014/main" id="{98DB938B-BE63-4DFC-A547-B7A8BF3ACD09}"/>
              </a:ext>
            </a:extLst>
          </p:cNvPr>
          <p:cNvGrpSpPr/>
          <p:nvPr/>
        </p:nvGrpSpPr>
        <p:grpSpPr>
          <a:xfrm>
            <a:off x="5119033" y="1924778"/>
            <a:ext cx="1916639" cy="2187371"/>
            <a:chOff x="5260272" y="2214147"/>
            <a:chExt cx="1917637" cy="2188510"/>
          </a:xfrm>
        </p:grpSpPr>
        <p:grpSp>
          <p:nvGrpSpPr>
            <p:cNvPr id="88" name="Gruppieren 36">
              <a:extLst>
                <a:ext uri="{FF2B5EF4-FFF2-40B4-BE49-F238E27FC236}">
                  <a16:creationId xmlns:a16="http://schemas.microsoft.com/office/drawing/2014/main" id="{EAA54B43-AFB9-4A2E-BBA9-47886E025514}"/>
                </a:ext>
              </a:extLst>
            </p:cNvPr>
            <p:cNvGrpSpPr/>
            <p:nvPr/>
          </p:nvGrpSpPr>
          <p:grpSpPr>
            <a:xfrm>
              <a:off x="5443370" y="2214147"/>
              <a:ext cx="1734539" cy="2188510"/>
              <a:chOff x="6180522" y="2114488"/>
              <a:chExt cx="1734539" cy="2188510"/>
            </a:xfrm>
          </p:grpSpPr>
          <p:sp>
            <p:nvSpPr>
              <p:cNvPr id="90" name="Arc 3">
                <a:extLst>
                  <a:ext uri="{FF2B5EF4-FFF2-40B4-BE49-F238E27FC236}">
                    <a16:creationId xmlns:a16="http://schemas.microsoft.com/office/drawing/2014/main" id="{4670B8B7-7BFF-405A-98FC-CC181DA4E2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0522" y="2465236"/>
                <a:ext cx="1734539" cy="1837762"/>
              </a:xfrm>
              <a:custGeom>
                <a:avLst/>
                <a:gdLst>
                  <a:gd name="G0" fmla="+- 17778 0 0"/>
                  <a:gd name="G1" fmla="+- 21600 0 0"/>
                  <a:gd name="G2" fmla="+- 21600 0 0"/>
                  <a:gd name="T0" fmla="*/ 0 w 25601"/>
                  <a:gd name="T1" fmla="*/ 9332 h 21600"/>
                  <a:gd name="T2" fmla="*/ 25601 w 25601"/>
                  <a:gd name="T3" fmla="*/ 1467 h 21600"/>
                  <a:gd name="T4" fmla="*/ 17778 w 25601"/>
                  <a:gd name="T5" fmla="*/ 216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5601" h="21600" fill="none" extrusionOk="0">
                    <a:moveTo>
                      <a:pt x="0" y="9332"/>
                    </a:moveTo>
                    <a:cubicBezTo>
                      <a:pt x="4032" y="3488"/>
                      <a:pt x="10678" y="-1"/>
                      <a:pt x="17778" y="0"/>
                    </a:cubicBezTo>
                    <a:cubicBezTo>
                      <a:pt x="20454" y="0"/>
                      <a:pt x="23106" y="497"/>
                      <a:pt x="25601" y="1466"/>
                    </a:cubicBezTo>
                  </a:path>
                  <a:path w="25601" h="21600" stroke="0" extrusionOk="0">
                    <a:moveTo>
                      <a:pt x="0" y="9332"/>
                    </a:moveTo>
                    <a:cubicBezTo>
                      <a:pt x="4032" y="3488"/>
                      <a:pt x="10678" y="-1"/>
                      <a:pt x="17778" y="0"/>
                    </a:cubicBezTo>
                    <a:cubicBezTo>
                      <a:pt x="20454" y="0"/>
                      <a:pt x="23106" y="497"/>
                      <a:pt x="25601" y="1466"/>
                    </a:cubicBezTo>
                    <a:lnTo>
                      <a:pt x="17778" y="21600"/>
                    </a:lnTo>
                    <a:close/>
                  </a:path>
                </a:pathLst>
              </a:custGeom>
              <a:noFill/>
              <a:ln w="57150">
                <a:solidFill>
                  <a:srgbClr val="EB780A"/>
                </a:solidFill>
                <a:round/>
                <a:headEnd type="none" w="med" len="med"/>
                <a:tailEnd type="triangle" w="med" len="med"/>
              </a:ln>
              <a:effectLst/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Rectangle 116">
                <a:extLst>
                  <a:ext uri="{FF2B5EF4-FFF2-40B4-BE49-F238E27FC236}">
                    <a16:creationId xmlns:a16="http://schemas.microsoft.com/office/drawing/2014/main" id="{69FCA2CE-FA31-4F0A-9501-F555E5781C5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14696" y="2114488"/>
                <a:ext cx="743793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b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599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cs typeface="Arial" pitchFamily="34" charset="0"/>
                  </a:rPr>
                  <a:t>Анализ</a:t>
                </a:r>
                <a:endParaRPr kumimoji="0" lang="en-US" sz="1599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sp>
          <p:nvSpPr>
            <p:cNvPr id="89" name="Freihandform 37">
              <a:extLst>
                <a:ext uri="{FF2B5EF4-FFF2-40B4-BE49-F238E27FC236}">
                  <a16:creationId xmlns:a16="http://schemas.microsoft.com/office/drawing/2014/main" id="{659841FD-CF5E-462F-B35A-07E884B382E1}"/>
                </a:ext>
              </a:extLst>
            </p:cNvPr>
            <p:cNvSpPr/>
            <p:nvPr/>
          </p:nvSpPr>
          <p:spPr bwMode="auto">
            <a:xfrm rot="7949554">
              <a:off x="5032187" y="2583043"/>
              <a:ext cx="983971" cy="527802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5000 w 10000"/>
                <a:gd name="connsiteY2" fmla="*/ 10000 h 10000"/>
                <a:gd name="connsiteX3" fmla="*/ 0 w 10000"/>
                <a:gd name="connsiteY3" fmla="*/ 0 h 10000"/>
                <a:gd name="connsiteX0" fmla="*/ 0 w 14864"/>
                <a:gd name="connsiteY0" fmla="*/ 0 h 10702"/>
                <a:gd name="connsiteX1" fmla="*/ 14864 w 14864"/>
                <a:gd name="connsiteY1" fmla="*/ 702 h 10702"/>
                <a:gd name="connsiteX2" fmla="*/ 9864 w 14864"/>
                <a:gd name="connsiteY2" fmla="*/ 10702 h 10702"/>
                <a:gd name="connsiteX3" fmla="*/ 0 w 14864"/>
                <a:gd name="connsiteY3" fmla="*/ 0 h 10702"/>
                <a:gd name="connsiteX0" fmla="*/ 0 w 15318"/>
                <a:gd name="connsiteY0" fmla="*/ 0 h 11389"/>
                <a:gd name="connsiteX1" fmla="*/ 15318 w 15318"/>
                <a:gd name="connsiteY1" fmla="*/ 1389 h 11389"/>
                <a:gd name="connsiteX2" fmla="*/ 10318 w 15318"/>
                <a:gd name="connsiteY2" fmla="*/ 11389 h 11389"/>
                <a:gd name="connsiteX3" fmla="*/ 0 w 15318"/>
                <a:gd name="connsiteY3" fmla="*/ 0 h 11389"/>
                <a:gd name="connsiteX0" fmla="*/ 0 w 15318"/>
                <a:gd name="connsiteY0" fmla="*/ 0 h 11389"/>
                <a:gd name="connsiteX1" fmla="*/ 15318 w 15318"/>
                <a:gd name="connsiteY1" fmla="*/ 1389 h 11389"/>
                <a:gd name="connsiteX2" fmla="*/ 10318 w 15318"/>
                <a:gd name="connsiteY2" fmla="*/ 11389 h 11389"/>
                <a:gd name="connsiteX3" fmla="*/ 0 w 15318"/>
                <a:gd name="connsiteY3" fmla="*/ 0 h 11389"/>
                <a:gd name="connsiteX0" fmla="*/ 0 w 13626"/>
                <a:gd name="connsiteY0" fmla="*/ 0 h 11144"/>
                <a:gd name="connsiteX1" fmla="*/ 13626 w 13626"/>
                <a:gd name="connsiteY1" fmla="*/ 1144 h 11144"/>
                <a:gd name="connsiteX2" fmla="*/ 8626 w 13626"/>
                <a:gd name="connsiteY2" fmla="*/ 11144 h 11144"/>
                <a:gd name="connsiteX3" fmla="*/ 0 w 13626"/>
                <a:gd name="connsiteY3" fmla="*/ 0 h 11144"/>
                <a:gd name="connsiteX0" fmla="*/ 0 w 13626"/>
                <a:gd name="connsiteY0" fmla="*/ 0 h 8158"/>
                <a:gd name="connsiteX1" fmla="*/ 13626 w 13626"/>
                <a:gd name="connsiteY1" fmla="*/ 1144 h 8158"/>
                <a:gd name="connsiteX2" fmla="*/ 5398 w 13626"/>
                <a:gd name="connsiteY2" fmla="*/ 8158 h 8158"/>
                <a:gd name="connsiteX3" fmla="*/ 0 w 13626"/>
                <a:gd name="connsiteY3" fmla="*/ 0 h 8158"/>
                <a:gd name="connsiteX0" fmla="*/ 0 w 9113"/>
                <a:gd name="connsiteY0" fmla="*/ 0 h 10000"/>
                <a:gd name="connsiteX1" fmla="*/ 9113 w 9113"/>
                <a:gd name="connsiteY1" fmla="*/ 926 h 10000"/>
                <a:gd name="connsiteX2" fmla="*/ 3962 w 9113"/>
                <a:gd name="connsiteY2" fmla="*/ 10000 h 10000"/>
                <a:gd name="connsiteX3" fmla="*/ 0 w 9113"/>
                <a:gd name="connsiteY3" fmla="*/ 0 h 10000"/>
                <a:gd name="connsiteX0" fmla="*/ 0 w 10000"/>
                <a:gd name="connsiteY0" fmla="*/ 0 h 10000"/>
                <a:gd name="connsiteX1" fmla="*/ 10000 w 10000"/>
                <a:gd name="connsiteY1" fmla="*/ 926 h 10000"/>
                <a:gd name="connsiteX2" fmla="*/ 4348 w 10000"/>
                <a:gd name="connsiteY2" fmla="*/ 10000 h 10000"/>
                <a:gd name="connsiteX3" fmla="*/ 0 w 10000"/>
                <a:gd name="connsiteY3" fmla="*/ 0 h 10000"/>
                <a:gd name="connsiteX0" fmla="*/ 0 w 10360"/>
                <a:gd name="connsiteY0" fmla="*/ 1395 h 11395"/>
                <a:gd name="connsiteX1" fmla="*/ 6550 w 10360"/>
                <a:gd name="connsiteY1" fmla="*/ 3763 h 11395"/>
                <a:gd name="connsiteX2" fmla="*/ 10000 w 10360"/>
                <a:gd name="connsiteY2" fmla="*/ 2321 h 11395"/>
                <a:gd name="connsiteX3" fmla="*/ 4348 w 10360"/>
                <a:gd name="connsiteY3" fmla="*/ 11395 h 11395"/>
                <a:gd name="connsiteX4" fmla="*/ 0 w 10360"/>
                <a:gd name="connsiteY4" fmla="*/ 1395 h 11395"/>
                <a:gd name="connsiteX0" fmla="*/ 0 w 10000"/>
                <a:gd name="connsiteY0" fmla="*/ 1512 h 11512"/>
                <a:gd name="connsiteX1" fmla="*/ 10000 w 10000"/>
                <a:gd name="connsiteY1" fmla="*/ 2438 h 11512"/>
                <a:gd name="connsiteX2" fmla="*/ 4348 w 10000"/>
                <a:gd name="connsiteY2" fmla="*/ 11512 h 11512"/>
                <a:gd name="connsiteX3" fmla="*/ 0 w 10000"/>
                <a:gd name="connsiteY3" fmla="*/ 1512 h 11512"/>
                <a:gd name="connsiteX0" fmla="*/ 0 w 10000"/>
                <a:gd name="connsiteY0" fmla="*/ 1512 h 11512"/>
                <a:gd name="connsiteX1" fmla="*/ 10000 w 10000"/>
                <a:gd name="connsiteY1" fmla="*/ 2438 h 11512"/>
                <a:gd name="connsiteX2" fmla="*/ 4348 w 10000"/>
                <a:gd name="connsiteY2" fmla="*/ 11512 h 11512"/>
                <a:gd name="connsiteX3" fmla="*/ 0 w 10000"/>
                <a:gd name="connsiteY3" fmla="*/ 1512 h 11512"/>
                <a:gd name="connsiteX0" fmla="*/ 0 w 10000"/>
                <a:gd name="connsiteY0" fmla="*/ 1512 h 11512"/>
                <a:gd name="connsiteX1" fmla="*/ 10000 w 10000"/>
                <a:gd name="connsiteY1" fmla="*/ 2438 h 11512"/>
                <a:gd name="connsiteX2" fmla="*/ 4348 w 10000"/>
                <a:gd name="connsiteY2" fmla="*/ 11512 h 11512"/>
                <a:gd name="connsiteX3" fmla="*/ 0 w 10000"/>
                <a:gd name="connsiteY3" fmla="*/ 1512 h 11512"/>
                <a:gd name="connsiteX0" fmla="*/ 0 w 10000"/>
                <a:gd name="connsiteY0" fmla="*/ 0 h 10000"/>
                <a:gd name="connsiteX1" fmla="*/ 10000 w 10000"/>
                <a:gd name="connsiteY1" fmla="*/ 926 h 10000"/>
                <a:gd name="connsiteX2" fmla="*/ 4348 w 10000"/>
                <a:gd name="connsiteY2" fmla="*/ 10000 h 10000"/>
                <a:gd name="connsiteX3" fmla="*/ 0 w 10000"/>
                <a:gd name="connsiteY3" fmla="*/ 0 h 10000"/>
                <a:gd name="connsiteX0" fmla="*/ 0 w 10000"/>
                <a:gd name="connsiteY0" fmla="*/ 0 h 10000"/>
                <a:gd name="connsiteX1" fmla="*/ 10000 w 10000"/>
                <a:gd name="connsiteY1" fmla="*/ 926 h 10000"/>
                <a:gd name="connsiteX2" fmla="*/ 4348 w 10000"/>
                <a:gd name="connsiteY2" fmla="*/ 10000 h 10000"/>
                <a:gd name="connsiteX3" fmla="*/ 0 w 10000"/>
                <a:gd name="connsiteY3" fmla="*/ 0 h 10000"/>
                <a:gd name="connsiteX0" fmla="*/ 0 w 10000"/>
                <a:gd name="connsiteY0" fmla="*/ 0 h 14378"/>
                <a:gd name="connsiteX1" fmla="*/ 10000 w 10000"/>
                <a:gd name="connsiteY1" fmla="*/ 926 h 14378"/>
                <a:gd name="connsiteX2" fmla="*/ 4181 w 10000"/>
                <a:gd name="connsiteY2" fmla="*/ 14378 h 14378"/>
                <a:gd name="connsiteX3" fmla="*/ 0 w 10000"/>
                <a:gd name="connsiteY3" fmla="*/ 0 h 14378"/>
                <a:gd name="connsiteX0" fmla="*/ 0 w 10743"/>
                <a:gd name="connsiteY0" fmla="*/ 0 h 14378"/>
                <a:gd name="connsiteX1" fmla="*/ 10743 w 10743"/>
                <a:gd name="connsiteY1" fmla="*/ 1710 h 14378"/>
                <a:gd name="connsiteX2" fmla="*/ 4181 w 10743"/>
                <a:gd name="connsiteY2" fmla="*/ 14378 h 14378"/>
                <a:gd name="connsiteX3" fmla="*/ 0 w 10743"/>
                <a:gd name="connsiteY3" fmla="*/ 0 h 14378"/>
                <a:gd name="connsiteX0" fmla="*/ 0 w 10743"/>
                <a:gd name="connsiteY0" fmla="*/ 0 h 14378"/>
                <a:gd name="connsiteX1" fmla="*/ 10743 w 10743"/>
                <a:gd name="connsiteY1" fmla="*/ 1710 h 14378"/>
                <a:gd name="connsiteX2" fmla="*/ 4181 w 10743"/>
                <a:gd name="connsiteY2" fmla="*/ 14378 h 14378"/>
                <a:gd name="connsiteX3" fmla="*/ 0 w 10743"/>
                <a:gd name="connsiteY3" fmla="*/ 0 h 14378"/>
                <a:gd name="connsiteX0" fmla="*/ 0 w 12618"/>
                <a:gd name="connsiteY0" fmla="*/ 0 h 14378"/>
                <a:gd name="connsiteX1" fmla="*/ 12618 w 12618"/>
                <a:gd name="connsiteY1" fmla="*/ 422 h 14378"/>
                <a:gd name="connsiteX2" fmla="*/ 4181 w 12618"/>
                <a:gd name="connsiteY2" fmla="*/ 14378 h 14378"/>
                <a:gd name="connsiteX3" fmla="*/ 0 w 12618"/>
                <a:gd name="connsiteY3" fmla="*/ 0 h 14378"/>
                <a:gd name="connsiteX0" fmla="*/ 0 w 12618"/>
                <a:gd name="connsiteY0" fmla="*/ 0 h 14378"/>
                <a:gd name="connsiteX1" fmla="*/ 12618 w 12618"/>
                <a:gd name="connsiteY1" fmla="*/ 422 h 14378"/>
                <a:gd name="connsiteX2" fmla="*/ 4181 w 12618"/>
                <a:gd name="connsiteY2" fmla="*/ 14378 h 14378"/>
                <a:gd name="connsiteX3" fmla="*/ 0 w 12618"/>
                <a:gd name="connsiteY3" fmla="*/ 0 h 14378"/>
                <a:gd name="connsiteX0" fmla="*/ 0 w 12618"/>
                <a:gd name="connsiteY0" fmla="*/ 0 h 14378"/>
                <a:gd name="connsiteX1" fmla="*/ 12618 w 12618"/>
                <a:gd name="connsiteY1" fmla="*/ 422 h 14378"/>
                <a:gd name="connsiteX2" fmla="*/ 4181 w 12618"/>
                <a:gd name="connsiteY2" fmla="*/ 14378 h 14378"/>
                <a:gd name="connsiteX3" fmla="*/ 0 w 12618"/>
                <a:gd name="connsiteY3" fmla="*/ 0 h 14378"/>
                <a:gd name="connsiteX0" fmla="*/ 0 w 12618"/>
                <a:gd name="connsiteY0" fmla="*/ 0 h 14378"/>
                <a:gd name="connsiteX1" fmla="*/ 12618 w 12618"/>
                <a:gd name="connsiteY1" fmla="*/ 422 h 14378"/>
                <a:gd name="connsiteX2" fmla="*/ 4181 w 12618"/>
                <a:gd name="connsiteY2" fmla="*/ 14378 h 14378"/>
                <a:gd name="connsiteX3" fmla="*/ 0 w 12618"/>
                <a:gd name="connsiteY3" fmla="*/ 0 h 14378"/>
                <a:gd name="connsiteX0" fmla="*/ 0 w 12718"/>
                <a:gd name="connsiteY0" fmla="*/ 0 h 14378"/>
                <a:gd name="connsiteX1" fmla="*/ 12718 w 12718"/>
                <a:gd name="connsiteY1" fmla="*/ 230 h 14378"/>
                <a:gd name="connsiteX2" fmla="*/ 4181 w 12718"/>
                <a:gd name="connsiteY2" fmla="*/ 14378 h 14378"/>
                <a:gd name="connsiteX3" fmla="*/ 0 w 12718"/>
                <a:gd name="connsiteY3" fmla="*/ 0 h 14378"/>
                <a:gd name="connsiteX0" fmla="*/ 0 w 12718"/>
                <a:gd name="connsiteY0" fmla="*/ 0 h 14378"/>
                <a:gd name="connsiteX1" fmla="*/ 12718 w 12718"/>
                <a:gd name="connsiteY1" fmla="*/ 230 h 14378"/>
                <a:gd name="connsiteX2" fmla="*/ 4181 w 12718"/>
                <a:gd name="connsiteY2" fmla="*/ 14378 h 14378"/>
                <a:gd name="connsiteX3" fmla="*/ 0 w 12718"/>
                <a:gd name="connsiteY3" fmla="*/ 0 h 14378"/>
                <a:gd name="connsiteX0" fmla="*/ 0 w 12718"/>
                <a:gd name="connsiteY0" fmla="*/ 0 h 14378"/>
                <a:gd name="connsiteX1" fmla="*/ 12718 w 12718"/>
                <a:gd name="connsiteY1" fmla="*/ 230 h 14378"/>
                <a:gd name="connsiteX2" fmla="*/ 4181 w 12718"/>
                <a:gd name="connsiteY2" fmla="*/ 14378 h 14378"/>
                <a:gd name="connsiteX3" fmla="*/ 0 w 12718"/>
                <a:gd name="connsiteY3" fmla="*/ 0 h 143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718" h="14378">
                  <a:moveTo>
                    <a:pt x="0" y="0"/>
                  </a:moveTo>
                  <a:cubicBezTo>
                    <a:pt x="3940" y="1965"/>
                    <a:pt x="5829" y="3258"/>
                    <a:pt x="12718" y="230"/>
                  </a:cubicBezTo>
                  <a:lnTo>
                    <a:pt x="4181" y="143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DBECB">
                <a:lumMod val="50000"/>
              </a:srgb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3258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ヒラギノ角ゴ Pro W3" charset="0"/>
              </a:endParaRPr>
            </a:p>
          </p:txBody>
        </p:sp>
      </p:grpSp>
      <p:grpSp>
        <p:nvGrpSpPr>
          <p:cNvPr id="92" name="Gruppieren 4">
            <a:extLst>
              <a:ext uri="{FF2B5EF4-FFF2-40B4-BE49-F238E27FC236}">
                <a16:creationId xmlns:a16="http://schemas.microsoft.com/office/drawing/2014/main" id="{CED0C60E-1BD8-4831-BCD5-69965F4B46F0}"/>
              </a:ext>
            </a:extLst>
          </p:cNvPr>
          <p:cNvGrpSpPr/>
          <p:nvPr/>
        </p:nvGrpSpPr>
        <p:grpSpPr>
          <a:xfrm>
            <a:off x="4243993" y="2923079"/>
            <a:ext cx="705910" cy="810461"/>
            <a:chOff x="1236224" y="1871385"/>
            <a:chExt cx="540000" cy="601808"/>
          </a:xfrm>
        </p:grpSpPr>
        <p:sp>
          <p:nvSpPr>
            <p:cNvPr id="93" name="Abgerundetes Rechteck 44">
              <a:extLst>
                <a:ext uri="{FF2B5EF4-FFF2-40B4-BE49-F238E27FC236}">
                  <a16:creationId xmlns:a16="http://schemas.microsoft.com/office/drawing/2014/main" id="{AF887118-C1EC-4885-A9AB-90AB7604B56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36224" y="1933253"/>
              <a:ext cx="540000" cy="539940"/>
            </a:xfrm>
            <a:prstGeom prst="roundRect">
              <a:avLst/>
            </a:prstGeom>
            <a:gradFill rotWithShape="1">
              <a:gsLst>
                <a:gs pos="0">
                  <a:srgbClr val="FFB900"/>
                </a:gs>
                <a:gs pos="100000">
                  <a:srgbClr val="C85A1E"/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94" name="Picture 2">
              <a:extLst>
                <a:ext uri="{FF2B5EF4-FFF2-40B4-BE49-F238E27FC236}">
                  <a16:creationId xmlns:a16="http://schemas.microsoft.com/office/drawing/2014/main" id="{A7B3B0E9-D9CD-4EA2-860F-D657C85E718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81720" y="2197039"/>
              <a:ext cx="449007" cy="211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95" name="Rechteck 48">
              <a:extLst>
                <a:ext uri="{FF2B5EF4-FFF2-40B4-BE49-F238E27FC236}">
                  <a16:creationId xmlns:a16="http://schemas.microsoft.com/office/drawing/2014/main" id="{DB3171A9-FA86-45A9-AAE7-37D98B10C59D}"/>
                </a:ext>
              </a:extLst>
            </p:cNvPr>
            <p:cNvSpPr/>
            <p:nvPr/>
          </p:nvSpPr>
          <p:spPr bwMode="auto">
            <a:xfrm>
              <a:off x="1242108" y="1871385"/>
              <a:ext cx="529908" cy="291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1963" tIns="35981" rIns="71963" bIns="35981"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Smart </a:t>
              </a:r>
              <a:br>
                <a: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</a:br>
              <a:r>
                <a: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rPr>
                <a:t>Monitoring</a:t>
              </a:r>
            </a:p>
          </p:txBody>
        </p:sp>
      </p:grpSp>
      <p:grpSp>
        <p:nvGrpSpPr>
          <p:cNvPr id="96" name="Gruppieren 9">
            <a:extLst>
              <a:ext uri="{FF2B5EF4-FFF2-40B4-BE49-F238E27FC236}">
                <a16:creationId xmlns:a16="http://schemas.microsoft.com/office/drawing/2014/main" id="{811DCE64-559B-4837-B109-713938456DAA}"/>
              </a:ext>
            </a:extLst>
          </p:cNvPr>
          <p:cNvGrpSpPr/>
          <p:nvPr/>
        </p:nvGrpSpPr>
        <p:grpSpPr>
          <a:xfrm>
            <a:off x="5928969" y="2491255"/>
            <a:ext cx="784213" cy="901882"/>
            <a:chOff x="565563" y="2510822"/>
            <a:chExt cx="542548" cy="616100"/>
          </a:xfrm>
        </p:grpSpPr>
        <p:sp>
          <p:nvSpPr>
            <p:cNvPr id="97" name="Abgerundetes Rechteck 55">
              <a:extLst>
                <a:ext uri="{FF2B5EF4-FFF2-40B4-BE49-F238E27FC236}">
                  <a16:creationId xmlns:a16="http://schemas.microsoft.com/office/drawing/2014/main" id="{19680087-FA48-49C6-AD0A-FECE0F6A888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8111" y="2586982"/>
              <a:ext cx="540000" cy="539940"/>
            </a:xfrm>
            <a:prstGeom prst="roundRect">
              <a:avLst/>
            </a:prstGeom>
            <a:gradFill rotWithShape="1">
              <a:gsLst>
                <a:gs pos="0">
                  <a:srgbClr val="41AAAA"/>
                </a:gs>
                <a:gs pos="100000">
                  <a:srgbClr val="00646E"/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98" name="Inhaltsplatzhalter 3" descr="Sig_time.PNG">
              <a:extLst>
                <a:ext uri="{FF2B5EF4-FFF2-40B4-BE49-F238E27FC236}">
                  <a16:creationId xmlns:a16="http://schemas.microsoft.com/office/drawing/2014/main" id="{301F6F44-90C4-4D4C-86DB-EB5BC224F97B}"/>
                </a:ext>
              </a:extLst>
            </p:cNvPr>
            <p:cNvPicPr preferRelativeResize="0"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610192" y="2850008"/>
              <a:ext cx="426945" cy="201628"/>
            </a:xfrm>
            <a:prstGeom prst="rect">
              <a:avLst/>
            </a:prstGeom>
          </p:spPr>
        </p:pic>
        <p:sp>
          <p:nvSpPr>
            <p:cNvPr id="99" name="Rechteck 58">
              <a:extLst>
                <a:ext uri="{FF2B5EF4-FFF2-40B4-BE49-F238E27FC236}">
                  <a16:creationId xmlns:a16="http://schemas.microsoft.com/office/drawing/2014/main" id="{31EE2A02-0229-4682-8F6B-477D6A0C32E1}"/>
                </a:ext>
              </a:extLst>
            </p:cNvPr>
            <p:cNvSpPr/>
            <p:nvPr/>
          </p:nvSpPr>
          <p:spPr bwMode="auto">
            <a:xfrm>
              <a:off x="565563" y="2510822"/>
              <a:ext cx="529908" cy="291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1963" tIns="35981" rIns="71963" bIns="35981"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Smart Data Analysis</a:t>
              </a:r>
            </a:p>
          </p:txBody>
        </p:sp>
      </p:grpSp>
      <p:grpSp>
        <p:nvGrpSpPr>
          <p:cNvPr id="100" name="Gruppieren 5">
            <a:extLst>
              <a:ext uri="{FF2B5EF4-FFF2-40B4-BE49-F238E27FC236}">
                <a16:creationId xmlns:a16="http://schemas.microsoft.com/office/drawing/2014/main" id="{7BCF9650-C56D-44FC-BFF7-98B81C018B61}"/>
              </a:ext>
            </a:extLst>
          </p:cNvPr>
          <p:cNvGrpSpPr/>
          <p:nvPr/>
        </p:nvGrpSpPr>
        <p:grpSpPr>
          <a:xfrm>
            <a:off x="7756754" y="2023448"/>
            <a:ext cx="742650" cy="899578"/>
            <a:chOff x="-451989" y="241861"/>
            <a:chExt cx="540000" cy="628592"/>
          </a:xfrm>
        </p:grpSpPr>
        <p:sp>
          <p:nvSpPr>
            <p:cNvPr id="101" name="Abgerundetes Rechteck 60">
              <a:extLst>
                <a:ext uri="{FF2B5EF4-FFF2-40B4-BE49-F238E27FC236}">
                  <a16:creationId xmlns:a16="http://schemas.microsoft.com/office/drawing/2014/main" id="{E0E877C0-4259-4197-A7CE-412D4B95EA3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-451989" y="330513"/>
              <a:ext cx="540000" cy="539940"/>
            </a:xfrm>
            <a:prstGeom prst="roundRect">
              <a:avLst/>
            </a:prstGeom>
            <a:gradFill rotWithShape="1">
              <a:gsLst>
                <a:gs pos="0">
                  <a:srgbClr val="AF235F"/>
                </a:gs>
                <a:gs pos="100000">
                  <a:srgbClr val="AF235F"/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2" name="Freeform 6">
              <a:extLst>
                <a:ext uri="{FF2B5EF4-FFF2-40B4-BE49-F238E27FC236}">
                  <a16:creationId xmlns:a16="http://schemas.microsoft.com/office/drawing/2014/main" id="{74410F32-0AE5-4D77-868A-CF958EE2F9D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-325989" y="538166"/>
              <a:ext cx="288000" cy="248624"/>
            </a:xfrm>
            <a:custGeom>
              <a:avLst/>
              <a:gdLst>
                <a:gd name="T0" fmla="*/ 1890 w 3307"/>
                <a:gd name="T1" fmla="*/ 2166 h 3212"/>
                <a:gd name="T2" fmla="*/ 2646 w 3307"/>
                <a:gd name="T3" fmla="*/ 1631 h 3212"/>
                <a:gd name="T4" fmla="*/ 2646 w 3307"/>
                <a:gd name="T5" fmla="*/ 3212 h 3212"/>
                <a:gd name="T6" fmla="*/ 1890 w 3307"/>
                <a:gd name="T7" fmla="*/ 3212 h 3212"/>
                <a:gd name="T8" fmla="*/ 1890 w 3307"/>
                <a:gd name="T9" fmla="*/ 2166 h 3212"/>
                <a:gd name="T10" fmla="*/ 3035 w 3307"/>
                <a:gd name="T11" fmla="*/ 1228 h 3212"/>
                <a:gd name="T12" fmla="*/ 2834 w 3307"/>
                <a:gd name="T13" fmla="*/ 1449 h 3212"/>
                <a:gd name="T14" fmla="*/ 2834 w 3307"/>
                <a:gd name="T15" fmla="*/ 3212 h 3212"/>
                <a:gd name="T16" fmla="*/ 3307 w 3307"/>
                <a:gd name="T17" fmla="*/ 3212 h 3212"/>
                <a:gd name="T18" fmla="*/ 3307 w 3307"/>
                <a:gd name="T19" fmla="*/ 1228 h 3212"/>
                <a:gd name="T20" fmla="*/ 3035 w 3307"/>
                <a:gd name="T21" fmla="*/ 1228 h 3212"/>
                <a:gd name="T22" fmla="*/ 0 w 3307"/>
                <a:gd name="T23" fmla="*/ 3212 h 3212"/>
                <a:gd name="T24" fmla="*/ 1701 w 3307"/>
                <a:gd name="T25" fmla="*/ 3212 h 3212"/>
                <a:gd name="T26" fmla="*/ 1701 w 3307"/>
                <a:gd name="T27" fmla="*/ 2262 h 3212"/>
                <a:gd name="T28" fmla="*/ 0 w 3307"/>
                <a:gd name="T29" fmla="*/ 2645 h 3212"/>
                <a:gd name="T30" fmla="*/ 0 w 3307"/>
                <a:gd name="T31" fmla="*/ 3212 h 3212"/>
                <a:gd name="T32" fmla="*/ 3056 w 3307"/>
                <a:gd name="T33" fmla="*/ 506 h 3212"/>
                <a:gd name="T34" fmla="*/ 3086 w 3307"/>
                <a:gd name="T35" fmla="*/ 924 h 3212"/>
                <a:gd name="T36" fmla="*/ 3307 w 3307"/>
                <a:gd name="T37" fmla="*/ 924 h 3212"/>
                <a:gd name="T38" fmla="*/ 3307 w 3307"/>
                <a:gd name="T39" fmla="*/ 0 h 3212"/>
                <a:gd name="T40" fmla="*/ 2383 w 3307"/>
                <a:gd name="T41" fmla="*/ 0 h 3212"/>
                <a:gd name="T42" fmla="*/ 2383 w 3307"/>
                <a:gd name="T43" fmla="*/ 221 h 3212"/>
                <a:gd name="T44" fmla="*/ 2767 w 3307"/>
                <a:gd name="T45" fmla="*/ 248 h 3212"/>
                <a:gd name="T46" fmla="*/ 0 w 3307"/>
                <a:gd name="T47" fmla="*/ 1913 h 3212"/>
                <a:gd name="T48" fmla="*/ 0 w 3307"/>
                <a:gd name="T49" fmla="*/ 2291 h 3212"/>
                <a:gd name="T50" fmla="*/ 3056 w 3307"/>
                <a:gd name="T51" fmla="*/ 506 h 3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07" h="3212">
                  <a:moveTo>
                    <a:pt x="1890" y="2166"/>
                  </a:moveTo>
                  <a:cubicBezTo>
                    <a:pt x="2159" y="2019"/>
                    <a:pt x="2413" y="1840"/>
                    <a:pt x="2646" y="1631"/>
                  </a:cubicBezTo>
                  <a:lnTo>
                    <a:pt x="2646" y="3212"/>
                  </a:lnTo>
                  <a:lnTo>
                    <a:pt x="1890" y="3212"/>
                  </a:lnTo>
                  <a:lnTo>
                    <a:pt x="1890" y="2166"/>
                  </a:lnTo>
                  <a:close/>
                  <a:moveTo>
                    <a:pt x="3035" y="1228"/>
                  </a:moveTo>
                  <a:cubicBezTo>
                    <a:pt x="2971" y="1304"/>
                    <a:pt x="2904" y="1377"/>
                    <a:pt x="2834" y="1449"/>
                  </a:cubicBezTo>
                  <a:lnTo>
                    <a:pt x="2834" y="3212"/>
                  </a:lnTo>
                  <a:lnTo>
                    <a:pt x="3307" y="3212"/>
                  </a:lnTo>
                  <a:lnTo>
                    <a:pt x="3307" y="1228"/>
                  </a:lnTo>
                  <a:lnTo>
                    <a:pt x="3035" y="1228"/>
                  </a:lnTo>
                  <a:close/>
                  <a:moveTo>
                    <a:pt x="0" y="3212"/>
                  </a:moveTo>
                  <a:lnTo>
                    <a:pt x="1701" y="3212"/>
                  </a:lnTo>
                  <a:lnTo>
                    <a:pt x="1701" y="2262"/>
                  </a:lnTo>
                  <a:cubicBezTo>
                    <a:pt x="1176" y="2512"/>
                    <a:pt x="598" y="2645"/>
                    <a:pt x="0" y="2645"/>
                  </a:cubicBezTo>
                  <a:lnTo>
                    <a:pt x="0" y="3212"/>
                  </a:lnTo>
                  <a:close/>
                  <a:moveTo>
                    <a:pt x="3056" y="506"/>
                  </a:moveTo>
                  <a:lnTo>
                    <a:pt x="3086" y="924"/>
                  </a:lnTo>
                  <a:lnTo>
                    <a:pt x="3307" y="924"/>
                  </a:lnTo>
                  <a:lnTo>
                    <a:pt x="3307" y="0"/>
                  </a:lnTo>
                  <a:lnTo>
                    <a:pt x="2383" y="0"/>
                  </a:lnTo>
                  <a:lnTo>
                    <a:pt x="2383" y="221"/>
                  </a:lnTo>
                  <a:lnTo>
                    <a:pt x="2767" y="248"/>
                  </a:lnTo>
                  <a:cubicBezTo>
                    <a:pt x="2239" y="1237"/>
                    <a:pt x="1197" y="1911"/>
                    <a:pt x="0" y="1913"/>
                  </a:cubicBezTo>
                  <a:lnTo>
                    <a:pt x="0" y="2291"/>
                  </a:lnTo>
                  <a:cubicBezTo>
                    <a:pt x="1308" y="2289"/>
                    <a:pt x="2451" y="1570"/>
                    <a:pt x="3056" y="50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Rechteck 62">
              <a:extLst>
                <a:ext uri="{FF2B5EF4-FFF2-40B4-BE49-F238E27FC236}">
                  <a16:creationId xmlns:a16="http://schemas.microsoft.com/office/drawing/2014/main" id="{7AAA16D9-9E93-4781-A642-65C571B3D86C}"/>
                </a:ext>
              </a:extLst>
            </p:cNvPr>
            <p:cNvSpPr/>
            <p:nvPr/>
          </p:nvSpPr>
          <p:spPr bwMode="auto">
            <a:xfrm>
              <a:off x="-441897" y="241861"/>
              <a:ext cx="529908" cy="291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71963" tIns="35981" rIns="71963" bIns="35981" rtlCol="0" anchor="b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Smart Predic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5749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10257600" cy="576000"/>
          </a:xfrm>
        </p:spPr>
        <p:txBody>
          <a:bodyPr/>
          <a:lstStyle/>
          <a:p>
            <a:r>
              <a:rPr lang="ru-RU" dirty="0"/>
              <a:t>Цифровая платформа </a:t>
            </a:r>
            <a:r>
              <a:rPr lang="en-US" dirty="0"/>
              <a:t>Railigent </a:t>
            </a:r>
            <a:r>
              <a:rPr lang="ru-RU" dirty="0"/>
              <a:t>как инструмент для преобразования данных в полезную информацию для принятия управленческих решений </a:t>
            </a:r>
            <a:endParaRPr lang="en-US" b="0" dirty="0"/>
          </a:p>
        </p:txBody>
      </p:sp>
      <p:sp>
        <p:nvSpPr>
          <p:cNvPr id="253" name="Richtungspfeil 3">
            <a:extLst>
              <a:ext uri="{FF2B5EF4-FFF2-40B4-BE49-F238E27FC236}">
                <a16:creationId xmlns:a16="http://schemas.microsoft.com/office/drawing/2014/main" id="{92155B21-17F6-4862-8BD1-48D87818B4EC}"/>
              </a:ext>
            </a:extLst>
          </p:cNvPr>
          <p:cNvSpPr/>
          <p:nvPr/>
        </p:nvSpPr>
        <p:spPr bwMode="gray">
          <a:xfrm>
            <a:off x="508077" y="1512609"/>
            <a:ext cx="3337608" cy="4742251"/>
          </a:xfrm>
          <a:custGeom>
            <a:avLst/>
            <a:gdLst>
              <a:gd name="connsiteX0" fmla="*/ 0 w 5473933"/>
              <a:gd name="connsiteY0" fmla="*/ 0 h 4643437"/>
              <a:gd name="connsiteX1" fmla="*/ 4675215 w 5473933"/>
              <a:gd name="connsiteY1" fmla="*/ 0 h 4643437"/>
              <a:gd name="connsiteX2" fmla="*/ 5473933 w 5473933"/>
              <a:gd name="connsiteY2" fmla="*/ 2321719 h 4643437"/>
              <a:gd name="connsiteX3" fmla="*/ 4675215 w 5473933"/>
              <a:gd name="connsiteY3" fmla="*/ 4643437 h 4643437"/>
              <a:gd name="connsiteX4" fmla="*/ 0 w 5473933"/>
              <a:gd name="connsiteY4" fmla="*/ 4643437 h 4643437"/>
              <a:gd name="connsiteX5" fmla="*/ 0 w 5473933"/>
              <a:gd name="connsiteY5" fmla="*/ 0 h 4643437"/>
              <a:gd name="connsiteX0" fmla="*/ 0 w 5473933"/>
              <a:gd name="connsiteY0" fmla="*/ 4643437 h 4734877"/>
              <a:gd name="connsiteX1" fmla="*/ 0 w 5473933"/>
              <a:gd name="connsiteY1" fmla="*/ 0 h 4734877"/>
              <a:gd name="connsiteX2" fmla="*/ 4675215 w 5473933"/>
              <a:gd name="connsiteY2" fmla="*/ 0 h 4734877"/>
              <a:gd name="connsiteX3" fmla="*/ 5473933 w 5473933"/>
              <a:gd name="connsiteY3" fmla="*/ 2321719 h 4734877"/>
              <a:gd name="connsiteX4" fmla="*/ 4675215 w 5473933"/>
              <a:gd name="connsiteY4" fmla="*/ 4643437 h 4734877"/>
              <a:gd name="connsiteX5" fmla="*/ 91440 w 5473933"/>
              <a:gd name="connsiteY5" fmla="*/ 4734877 h 4734877"/>
              <a:gd name="connsiteX0" fmla="*/ 0 w 5473933"/>
              <a:gd name="connsiteY0" fmla="*/ 4643437 h 4643437"/>
              <a:gd name="connsiteX1" fmla="*/ 0 w 5473933"/>
              <a:gd name="connsiteY1" fmla="*/ 0 h 4643437"/>
              <a:gd name="connsiteX2" fmla="*/ 4675215 w 5473933"/>
              <a:gd name="connsiteY2" fmla="*/ 0 h 4643437"/>
              <a:gd name="connsiteX3" fmla="*/ 5473933 w 5473933"/>
              <a:gd name="connsiteY3" fmla="*/ 2321719 h 4643437"/>
              <a:gd name="connsiteX4" fmla="*/ 4675215 w 5473933"/>
              <a:gd name="connsiteY4" fmla="*/ 4643437 h 4643437"/>
              <a:gd name="connsiteX0" fmla="*/ 0 w 5473933"/>
              <a:gd name="connsiteY0" fmla="*/ 0 h 4643437"/>
              <a:gd name="connsiteX1" fmla="*/ 4675215 w 5473933"/>
              <a:gd name="connsiteY1" fmla="*/ 0 h 4643437"/>
              <a:gd name="connsiteX2" fmla="*/ 5473933 w 5473933"/>
              <a:gd name="connsiteY2" fmla="*/ 2321719 h 4643437"/>
              <a:gd name="connsiteX3" fmla="*/ 4675215 w 5473933"/>
              <a:gd name="connsiteY3" fmla="*/ 4643437 h 4643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3933" h="4643437">
                <a:moveTo>
                  <a:pt x="0" y="0"/>
                </a:moveTo>
                <a:lnTo>
                  <a:pt x="4675215" y="0"/>
                </a:lnTo>
                <a:lnTo>
                  <a:pt x="5473933" y="2321719"/>
                </a:lnTo>
                <a:lnTo>
                  <a:pt x="4675215" y="4643437"/>
                </a:lnTo>
              </a:path>
            </a:pathLst>
          </a:custGeom>
          <a:noFill/>
          <a:ln w="28575" cap="flat" cmpd="sng" algn="ctr">
            <a:solidFill>
              <a:srgbClr val="DFE6ED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143925" tIns="107944" rIns="143925" bIns="107944" anchor="t" anchorCtr="0"/>
          <a:lstStyle/>
          <a:p>
            <a:pPr>
              <a:spcBef>
                <a:spcPts val="1199"/>
              </a:spcBef>
              <a:buClr>
                <a:schemeClr val="accent1"/>
              </a:buClr>
            </a:pPr>
            <a:endParaRPr lang="en-US" sz="1999" b="1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54" name="Freihandform: Form 21">
            <a:extLst>
              <a:ext uri="{FF2B5EF4-FFF2-40B4-BE49-F238E27FC236}">
                <a16:creationId xmlns:a16="http://schemas.microsoft.com/office/drawing/2014/main" id="{D16B5DDE-D58D-4BB5-A7C6-433D605ED393}"/>
              </a:ext>
            </a:extLst>
          </p:cNvPr>
          <p:cNvSpPr>
            <a:spLocks/>
          </p:cNvSpPr>
          <p:nvPr/>
        </p:nvSpPr>
        <p:spPr bwMode="gray">
          <a:xfrm>
            <a:off x="8117325" y="1508108"/>
            <a:ext cx="3550379" cy="4748914"/>
          </a:xfrm>
          <a:custGeom>
            <a:avLst/>
            <a:gdLst>
              <a:gd name="connsiteX0" fmla="*/ 0 w 3552229"/>
              <a:gd name="connsiteY0" fmla="*/ 0 h 4754426"/>
              <a:gd name="connsiteX1" fmla="*/ 3552229 w 3552229"/>
              <a:gd name="connsiteY1" fmla="*/ 0 h 4754426"/>
              <a:gd name="connsiteX2" fmla="*/ 3552229 w 3552229"/>
              <a:gd name="connsiteY2" fmla="*/ 4754426 h 4754426"/>
              <a:gd name="connsiteX3" fmla="*/ 0 w 3552229"/>
              <a:gd name="connsiteY3" fmla="*/ 4754426 h 4754426"/>
              <a:gd name="connsiteX4" fmla="*/ 0 w 3552229"/>
              <a:gd name="connsiteY4" fmla="*/ 4730024 h 4754426"/>
              <a:gd name="connsiteX5" fmla="*/ 506909 w 3552229"/>
              <a:gd name="connsiteY5" fmla="*/ 2377217 h 4754426"/>
              <a:gd name="connsiteX6" fmla="*/ 0 w 3552229"/>
              <a:gd name="connsiteY6" fmla="*/ 24410 h 4754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52229" h="4754426">
                <a:moveTo>
                  <a:pt x="0" y="0"/>
                </a:moveTo>
                <a:lnTo>
                  <a:pt x="3552229" y="0"/>
                </a:lnTo>
                <a:lnTo>
                  <a:pt x="3552229" y="4754426"/>
                </a:lnTo>
                <a:lnTo>
                  <a:pt x="0" y="4754426"/>
                </a:lnTo>
                <a:lnTo>
                  <a:pt x="0" y="4730024"/>
                </a:lnTo>
                <a:lnTo>
                  <a:pt x="506909" y="2377217"/>
                </a:lnTo>
                <a:lnTo>
                  <a:pt x="0" y="24410"/>
                </a:lnTo>
                <a:close/>
              </a:path>
            </a:pathLst>
          </a:cu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107944" tIns="71963" rIns="107944" bIns="71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799" dirty="0" err="1">
              <a:solidFill>
                <a:srgbClr val="000000"/>
              </a:solidFill>
            </a:endParaRPr>
          </a:p>
        </p:txBody>
      </p:sp>
      <p:sp>
        <p:nvSpPr>
          <p:cNvPr id="255" name="Rechteck 26">
            <a:extLst>
              <a:ext uri="{FF2B5EF4-FFF2-40B4-BE49-F238E27FC236}">
                <a16:creationId xmlns:a16="http://schemas.microsoft.com/office/drawing/2014/main" id="{DB6FA02A-31B9-4714-826E-713294141B23}"/>
              </a:ext>
            </a:extLst>
          </p:cNvPr>
          <p:cNvSpPr>
            <a:spLocks/>
          </p:cNvSpPr>
          <p:nvPr/>
        </p:nvSpPr>
        <p:spPr bwMode="gray">
          <a:xfrm>
            <a:off x="8832974" y="4264502"/>
            <a:ext cx="2723720" cy="645995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sz="1999" b="1" dirty="0">
                <a:solidFill>
                  <a:srgbClr val="FFFFFF"/>
                </a:solidFill>
              </a:rPr>
              <a:t>Улучшить эксплуатационные показатели </a:t>
            </a:r>
            <a:br>
              <a:rPr lang="en-US" sz="1399" b="1" dirty="0">
                <a:solidFill>
                  <a:srgbClr val="FFFFFF"/>
                </a:solidFill>
              </a:rPr>
            </a:br>
            <a:r>
              <a:rPr lang="en-US" sz="1399" b="1" dirty="0">
                <a:solidFill>
                  <a:srgbClr val="FFFFFF"/>
                </a:solidFill>
              </a:rPr>
              <a:t>(</a:t>
            </a:r>
            <a:r>
              <a:rPr lang="ru-RU" sz="1399" b="1" dirty="0">
                <a:solidFill>
                  <a:srgbClr val="FFFFFF"/>
                </a:solidFill>
              </a:rPr>
              <a:t>комфорт пассажиров, пропускная способность)</a:t>
            </a:r>
            <a:endParaRPr lang="en-US" sz="1399" b="1" dirty="0">
              <a:solidFill>
                <a:srgbClr val="FFFFFF"/>
              </a:solidFill>
            </a:endParaRPr>
          </a:p>
        </p:txBody>
      </p:sp>
      <p:sp>
        <p:nvSpPr>
          <p:cNvPr id="256" name="Rechteck 27">
            <a:extLst>
              <a:ext uri="{FF2B5EF4-FFF2-40B4-BE49-F238E27FC236}">
                <a16:creationId xmlns:a16="http://schemas.microsoft.com/office/drawing/2014/main" id="{4D0CF421-4DB3-46A1-BB6B-E85E01952274}"/>
              </a:ext>
            </a:extLst>
          </p:cNvPr>
          <p:cNvSpPr>
            <a:spLocks/>
          </p:cNvSpPr>
          <p:nvPr/>
        </p:nvSpPr>
        <p:spPr bwMode="gray">
          <a:xfrm>
            <a:off x="549286" y="1811932"/>
            <a:ext cx="2152518" cy="294924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199"/>
              </a:spcBef>
              <a:spcAft>
                <a:spcPts val="800"/>
              </a:spcAft>
              <a:buClr>
                <a:schemeClr val="accent1"/>
              </a:buClr>
            </a:pPr>
            <a:r>
              <a:rPr lang="ru-RU" sz="1999" b="1" dirty="0"/>
              <a:t>Объём данных</a:t>
            </a:r>
            <a:endParaRPr lang="en-US" sz="1999" b="1" dirty="0"/>
          </a:p>
        </p:txBody>
      </p:sp>
      <p:sp>
        <p:nvSpPr>
          <p:cNvPr id="257" name="Rechteck 4">
            <a:extLst>
              <a:ext uri="{FF2B5EF4-FFF2-40B4-BE49-F238E27FC236}">
                <a16:creationId xmlns:a16="http://schemas.microsoft.com/office/drawing/2014/main" id="{24A5EC9B-2D2A-4193-AFF3-DE1CB7E4D97D}"/>
              </a:ext>
            </a:extLst>
          </p:cNvPr>
          <p:cNvSpPr>
            <a:spLocks/>
          </p:cNvSpPr>
          <p:nvPr/>
        </p:nvSpPr>
        <p:spPr>
          <a:xfrm>
            <a:off x="549286" y="2375244"/>
            <a:ext cx="3056530" cy="259930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885" indent="-180885">
              <a:buClr>
                <a:schemeClr val="accent1"/>
              </a:buClr>
            </a:pPr>
            <a:r>
              <a:rPr lang="ru-RU" sz="1399" b="1" dirty="0"/>
              <a:t>Подвижной состав</a:t>
            </a:r>
          </a:p>
          <a:p>
            <a:pPr marL="180885" indent="-180885">
              <a:buClr>
                <a:schemeClr val="accent1"/>
              </a:buClr>
            </a:pPr>
            <a:endParaRPr lang="en-US" sz="1399" b="1" dirty="0"/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ru-RU" sz="1399" dirty="0"/>
              <a:t>Подвижной состав генерирует сегодня от 1 до 4 млрд. пакетов данных в год</a:t>
            </a:r>
          </a:p>
          <a:p>
            <a:pPr>
              <a:spcAft>
                <a:spcPts val="600"/>
              </a:spcAft>
              <a:buClr>
                <a:schemeClr val="accent1"/>
              </a:buClr>
            </a:pPr>
            <a:endParaRPr lang="en-US" sz="1399" dirty="0"/>
          </a:p>
          <a:p>
            <a:pPr marL="180885" indent="-180885">
              <a:spcBef>
                <a:spcPts val="300"/>
              </a:spcBef>
              <a:buClr>
                <a:schemeClr val="accent1"/>
              </a:buClr>
            </a:pPr>
            <a:r>
              <a:rPr lang="ru-RU" sz="1399" b="1" dirty="0"/>
              <a:t>Инфраструктура</a:t>
            </a:r>
          </a:p>
          <a:p>
            <a:pPr marL="180885" indent="-180885">
              <a:spcBef>
                <a:spcPts val="300"/>
              </a:spcBef>
              <a:buClr>
                <a:schemeClr val="accent1"/>
              </a:buClr>
            </a:pPr>
            <a:endParaRPr lang="en-US" sz="1399" b="1" dirty="0"/>
          </a:p>
          <a:p>
            <a:pPr>
              <a:spcAft>
                <a:spcPts val="600"/>
              </a:spcAft>
              <a:buClr>
                <a:schemeClr val="accent1"/>
              </a:buClr>
            </a:pPr>
            <a:r>
              <a:rPr lang="ru-RU" sz="1399" dirty="0"/>
              <a:t>Железнодорожная инфраструктура может отправлять свыше 1 млрд. пакетов данных в год</a:t>
            </a:r>
            <a:endParaRPr lang="en-US" sz="1399" dirty="0"/>
          </a:p>
        </p:txBody>
      </p:sp>
      <p:sp>
        <p:nvSpPr>
          <p:cNvPr id="259" name="Rechteck 44">
            <a:extLst>
              <a:ext uri="{FF2B5EF4-FFF2-40B4-BE49-F238E27FC236}">
                <a16:creationId xmlns:a16="http://schemas.microsoft.com/office/drawing/2014/main" id="{A9237F6A-A1CE-47C3-B9FA-5A6527A3E216}"/>
              </a:ext>
            </a:extLst>
          </p:cNvPr>
          <p:cNvSpPr>
            <a:spLocks/>
          </p:cNvSpPr>
          <p:nvPr/>
        </p:nvSpPr>
        <p:spPr bwMode="gray">
          <a:xfrm>
            <a:off x="8844912" y="1555317"/>
            <a:ext cx="2723720" cy="645995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sz="1999" b="1" dirty="0">
                <a:solidFill>
                  <a:srgbClr val="FFFFFF"/>
                </a:solidFill>
              </a:rPr>
              <a:t>Улучшить техническое обслуживание</a:t>
            </a:r>
            <a:br>
              <a:rPr lang="en-US" sz="1399" b="1" dirty="0">
                <a:solidFill>
                  <a:srgbClr val="FFFFFF"/>
                </a:solidFill>
              </a:rPr>
            </a:br>
            <a:r>
              <a:rPr lang="en-US" sz="1399" b="1" dirty="0">
                <a:solidFill>
                  <a:srgbClr val="FFFFFF"/>
                </a:solidFill>
              </a:rPr>
              <a:t>(</a:t>
            </a:r>
            <a:r>
              <a:rPr lang="ru-RU" sz="1399" b="1" dirty="0">
                <a:solidFill>
                  <a:srgbClr val="FFFFFF"/>
                </a:solidFill>
              </a:rPr>
              <a:t>расходы</a:t>
            </a:r>
            <a:r>
              <a:rPr lang="en-US" sz="1399" b="1" dirty="0">
                <a:solidFill>
                  <a:srgbClr val="FFFFFF"/>
                </a:solidFill>
              </a:rPr>
              <a:t>,</a:t>
            </a:r>
            <a:r>
              <a:rPr lang="ru-RU" sz="1399" b="1" dirty="0">
                <a:solidFill>
                  <a:srgbClr val="FFFFFF"/>
                </a:solidFill>
              </a:rPr>
              <a:t> время обслуживания и др.</a:t>
            </a:r>
            <a:r>
              <a:rPr lang="en-US" sz="1399" b="1" dirty="0">
                <a:solidFill>
                  <a:srgbClr val="FFFFFF"/>
                </a:solidFill>
              </a:rPr>
              <a:t>)</a:t>
            </a:r>
          </a:p>
        </p:txBody>
      </p:sp>
      <p:cxnSp>
        <p:nvCxnSpPr>
          <p:cNvPr id="260" name="Gerader Verbinder 7">
            <a:extLst>
              <a:ext uri="{FF2B5EF4-FFF2-40B4-BE49-F238E27FC236}">
                <a16:creationId xmlns:a16="http://schemas.microsoft.com/office/drawing/2014/main" id="{0C442EFF-B262-409C-B399-303BC74742D0}"/>
              </a:ext>
            </a:extLst>
          </p:cNvPr>
          <p:cNvCxnSpPr>
            <a:cxnSpLocks/>
          </p:cNvCxnSpPr>
          <p:nvPr/>
        </p:nvCxnSpPr>
        <p:spPr bwMode="auto">
          <a:xfrm>
            <a:off x="8832973" y="3035685"/>
            <a:ext cx="2632701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1" name="Gerader Verbinder 47">
            <a:extLst>
              <a:ext uri="{FF2B5EF4-FFF2-40B4-BE49-F238E27FC236}">
                <a16:creationId xmlns:a16="http://schemas.microsoft.com/office/drawing/2014/main" id="{7653FB53-833E-4016-A1CB-667E3F14C996}"/>
              </a:ext>
            </a:extLst>
          </p:cNvPr>
          <p:cNvCxnSpPr>
            <a:cxnSpLocks/>
          </p:cNvCxnSpPr>
          <p:nvPr/>
        </p:nvCxnSpPr>
        <p:spPr bwMode="auto">
          <a:xfrm>
            <a:off x="8832974" y="4185419"/>
            <a:ext cx="2632701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2" name="Rechteck 10">
            <a:extLst>
              <a:ext uri="{FF2B5EF4-FFF2-40B4-BE49-F238E27FC236}">
                <a16:creationId xmlns:a16="http://schemas.microsoft.com/office/drawing/2014/main" id="{4B38BF4F-2487-4ACE-B33B-11ADC5FC1DEE}"/>
              </a:ext>
            </a:extLst>
          </p:cNvPr>
          <p:cNvSpPr>
            <a:spLocks/>
          </p:cNvSpPr>
          <p:nvPr/>
        </p:nvSpPr>
        <p:spPr>
          <a:xfrm>
            <a:off x="4038674" y="2294993"/>
            <a:ext cx="4089904" cy="7382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1199"/>
              </a:spcBef>
              <a:spcAft>
                <a:spcPts val="800"/>
              </a:spcAft>
              <a:buClr>
                <a:schemeClr val="accent1"/>
              </a:buClr>
            </a:pPr>
            <a:r>
              <a:rPr lang="en-US" sz="1599" b="1" dirty="0"/>
              <a:t>Railigent</a:t>
            </a:r>
            <a:r>
              <a:rPr lang="en-US" sz="1599" b="1" baseline="30000" dirty="0"/>
              <a:t>®</a:t>
            </a:r>
            <a:r>
              <a:rPr lang="en-US" sz="1599" b="1" dirty="0"/>
              <a:t> </a:t>
            </a:r>
            <a:r>
              <a:rPr lang="ru-RU" sz="1599" b="1" dirty="0"/>
              <a:t>на базе </a:t>
            </a:r>
            <a:r>
              <a:rPr lang="en-US" sz="1599" b="1" dirty="0"/>
              <a:t>MindSphere, </a:t>
            </a:r>
            <a:r>
              <a:rPr lang="ru-RU" sz="1599" b="1" dirty="0"/>
              <a:t>операционной системы </a:t>
            </a:r>
            <a:r>
              <a:rPr lang="en-US" sz="1599" b="1" dirty="0"/>
              <a:t>Siemens </a:t>
            </a:r>
            <a:r>
              <a:rPr lang="ru-RU" sz="1599" b="1" dirty="0"/>
              <a:t>для </a:t>
            </a:r>
            <a:r>
              <a:rPr lang="en-US" sz="1599" b="1" dirty="0"/>
              <a:t>IoT</a:t>
            </a:r>
          </a:p>
        </p:txBody>
      </p:sp>
      <p:grpSp>
        <p:nvGrpSpPr>
          <p:cNvPr id="263" name="Gruppieren 26">
            <a:extLst>
              <a:ext uri="{FF2B5EF4-FFF2-40B4-BE49-F238E27FC236}">
                <a16:creationId xmlns:a16="http://schemas.microsoft.com/office/drawing/2014/main" id="{340BF158-05EE-4F9F-8E49-926186A7E454}"/>
              </a:ext>
            </a:extLst>
          </p:cNvPr>
          <p:cNvGrpSpPr/>
          <p:nvPr/>
        </p:nvGrpSpPr>
        <p:grpSpPr bwMode="gray">
          <a:xfrm>
            <a:off x="1549" y="4942603"/>
            <a:ext cx="12190451" cy="1328767"/>
            <a:chOff x="0" y="4632937"/>
            <a:chExt cx="12196800" cy="1329459"/>
          </a:xfrm>
        </p:grpSpPr>
        <p:sp>
          <p:nvSpPr>
            <p:cNvPr id="264" name="Freeform 9">
              <a:extLst>
                <a:ext uri="{FF2B5EF4-FFF2-40B4-BE49-F238E27FC236}">
                  <a16:creationId xmlns:a16="http://schemas.microsoft.com/office/drawing/2014/main" id="{3005ABDC-FDDB-4510-8509-9C4EE9D93C12}"/>
                </a:ext>
              </a:extLst>
            </p:cNvPr>
            <p:cNvSpPr>
              <a:spLocks/>
            </p:cNvSpPr>
            <p:nvPr/>
          </p:nvSpPr>
          <p:spPr bwMode="gray">
            <a:xfrm>
              <a:off x="0" y="4632937"/>
              <a:ext cx="12196800" cy="1329459"/>
            </a:xfrm>
            <a:custGeom>
              <a:avLst/>
              <a:gdLst>
                <a:gd name="T0" fmla="*/ 0 w 1743"/>
                <a:gd name="T1" fmla="*/ 294 h 364"/>
                <a:gd name="T2" fmla="*/ 43 w 1743"/>
                <a:gd name="T3" fmla="*/ 321 h 364"/>
                <a:gd name="T4" fmla="*/ 73 w 1743"/>
                <a:gd name="T5" fmla="*/ 302 h 364"/>
                <a:gd name="T6" fmla="*/ 84 w 1743"/>
                <a:gd name="T7" fmla="*/ 140 h 364"/>
                <a:gd name="T8" fmla="*/ 126 w 1743"/>
                <a:gd name="T9" fmla="*/ 110 h 364"/>
                <a:gd name="T10" fmla="*/ 169 w 1743"/>
                <a:gd name="T11" fmla="*/ 133 h 364"/>
                <a:gd name="T12" fmla="*/ 229 w 1743"/>
                <a:gd name="T13" fmla="*/ 183 h 364"/>
                <a:gd name="T14" fmla="*/ 249 w 1743"/>
                <a:gd name="T15" fmla="*/ 102 h 364"/>
                <a:gd name="T16" fmla="*/ 260 w 1743"/>
                <a:gd name="T17" fmla="*/ 66 h 364"/>
                <a:gd name="T18" fmla="*/ 277 w 1743"/>
                <a:gd name="T19" fmla="*/ 82 h 364"/>
                <a:gd name="T20" fmla="*/ 325 w 1743"/>
                <a:gd name="T21" fmla="*/ 198 h 364"/>
                <a:gd name="T22" fmla="*/ 352 w 1743"/>
                <a:gd name="T23" fmla="*/ 156 h 364"/>
                <a:gd name="T24" fmla="*/ 367 w 1743"/>
                <a:gd name="T25" fmla="*/ 118 h 364"/>
                <a:gd name="T26" fmla="*/ 380 w 1743"/>
                <a:gd name="T27" fmla="*/ 98 h 364"/>
                <a:gd name="T28" fmla="*/ 426 w 1743"/>
                <a:gd name="T29" fmla="*/ 200 h 364"/>
                <a:gd name="T30" fmla="*/ 453 w 1743"/>
                <a:gd name="T31" fmla="*/ 93 h 364"/>
                <a:gd name="T32" fmla="*/ 503 w 1743"/>
                <a:gd name="T33" fmla="*/ 161 h 364"/>
                <a:gd name="T34" fmla="*/ 533 w 1743"/>
                <a:gd name="T35" fmla="*/ 88 h 364"/>
                <a:gd name="T36" fmla="*/ 609 w 1743"/>
                <a:gd name="T37" fmla="*/ 193 h 364"/>
                <a:gd name="T38" fmla="*/ 640 w 1743"/>
                <a:gd name="T39" fmla="*/ 219 h 364"/>
                <a:gd name="T40" fmla="*/ 660 w 1743"/>
                <a:gd name="T41" fmla="*/ 102 h 364"/>
                <a:gd name="T42" fmla="*/ 674 w 1743"/>
                <a:gd name="T43" fmla="*/ 85 h 364"/>
                <a:gd name="T44" fmla="*/ 685 w 1743"/>
                <a:gd name="T45" fmla="*/ 66 h 364"/>
                <a:gd name="T46" fmla="*/ 723 w 1743"/>
                <a:gd name="T47" fmla="*/ 87 h 364"/>
                <a:gd name="T48" fmla="*/ 740 w 1743"/>
                <a:gd name="T49" fmla="*/ 158 h 364"/>
                <a:gd name="T50" fmla="*/ 796 w 1743"/>
                <a:gd name="T51" fmla="*/ 239 h 364"/>
                <a:gd name="T52" fmla="*/ 821 w 1743"/>
                <a:gd name="T53" fmla="*/ 208 h 364"/>
                <a:gd name="T54" fmla="*/ 866 w 1743"/>
                <a:gd name="T55" fmla="*/ 117 h 364"/>
                <a:gd name="T56" fmla="*/ 884 w 1743"/>
                <a:gd name="T57" fmla="*/ 87 h 364"/>
                <a:gd name="T58" fmla="*/ 896 w 1743"/>
                <a:gd name="T59" fmla="*/ 66 h 364"/>
                <a:gd name="T60" fmla="*/ 908 w 1743"/>
                <a:gd name="T61" fmla="*/ 0 h 364"/>
                <a:gd name="T62" fmla="*/ 921 w 1743"/>
                <a:gd name="T63" fmla="*/ 66 h 364"/>
                <a:gd name="T64" fmla="*/ 938 w 1743"/>
                <a:gd name="T65" fmla="*/ 93 h 364"/>
                <a:gd name="T66" fmla="*/ 949 w 1743"/>
                <a:gd name="T67" fmla="*/ 118 h 364"/>
                <a:gd name="T68" fmla="*/ 963 w 1743"/>
                <a:gd name="T69" fmla="*/ 210 h 364"/>
                <a:gd name="T70" fmla="*/ 1021 w 1743"/>
                <a:gd name="T71" fmla="*/ 161 h 364"/>
                <a:gd name="T72" fmla="*/ 1036 w 1743"/>
                <a:gd name="T73" fmla="*/ 105 h 364"/>
                <a:gd name="T74" fmla="*/ 1046 w 1743"/>
                <a:gd name="T75" fmla="*/ 77 h 364"/>
                <a:gd name="T76" fmla="*/ 1080 w 1743"/>
                <a:gd name="T77" fmla="*/ 105 h 364"/>
                <a:gd name="T78" fmla="*/ 1094 w 1743"/>
                <a:gd name="T79" fmla="*/ 168 h 364"/>
                <a:gd name="T80" fmla="*/ 1105 w 1743"/>
                <a:gd name="T81" fmla="*/ 239 h 364"/>
                <a:gd name="T82" fmla="*/ 1155 w 1743"/>
                <a:gd name="T83" fmla="*/ 161 h 364"/>
                <a:gd name="T84" fmla="*/ 1167 w 1743"/>
                <a:gd name="T85" fmla="*/ 208 h 364"/>
                <a:gd name="T86" fmla="*/ 1193 w 1743"/>
                <a:gd name="T87" fmla="*/ 186 h 364"/>
                <a:gd name="T88" fmla="*/ 1246 w 1743"/>
                <a:gd name="T89" fmla="*/ 276 h 364"/>
                <a:gd name="T90" fmla="*/ 1268 w 1743"/>
                <a:gd name="T91" fmla="*/ 251 h 364"/>
                <a:gd name="T92" fmla="*/ 1283 w 1743"/>
                <a:gd name="T93" fmla="*/ 229 h 364"/>
                <a:gd name="T94" fmla="*/ 1305 w 1743"/>
                <a:gd name="T95" fmla="*/ 259 h 364"/>
                <a:gd name="T96" fmla="*/ 1323 w 1743"/>
                <a:gd name="T97" fmla="*/ 186 h 364"/>
                <a:gd name="T98" fmla="*/ 1329 w 1743"/>
                <a:gd name="T99" fmla="*/ 228 h 364"/>
                <a:gd name="T100" fmla="*/ 1349 w 1743"/>
                <a:gd name="T101" fmla="*/ 215 h 364"/>
                <a:gd name="T102" fmla="*/ 1394 w 1743"/>
                <a:gd name="T103" fmla="*/ 238 h 364"/>
                <a:gd name="T104" fmla="*/ 1428 w 1743"/>
                <a:gd name="T105" fmla="*/ 264 h 364"/>
                <a:gd name="T106" fmla="*/ 1456 w 1743"/>
                <a:gd name="T107" fmla="*/ 293 h 364"/>
                <a:gd name="T108" fmla="*/ 1477 w 1743"/>
                <a:gd name="T109" fmla="*/ 268 h 364"/>
                <a:gd name="T110" fmla="*/ 1530 w 1743"/>
                <a:gd name="T111" fmla="*/ 238 h 364"/>
                <a:gd name="T112" fmla="*/ 1544 w 1743"/>
                <a:gd name="T113" fmla="*/ 286 h 364"/>
                <a:gd name="T114" fmla="*/ 1569 w 1743"/>
                <a:gd name="T115" fmla="*/ 226 h 364"/>
                <a:gd name="T116" fmla="*/ 1602 w 1743"/>
                <a:gd name="T117" fmla="*/ 258 h 364"/>
                <a:gd name="T118" fmla="*/ 1653 w 1743"/>
                <a:gd name="T119" fmla="*/ 278 h 364"/>
                <a:gd name="T120" fmla="*/ 1691 w 1743"/>
                <a:gd name="T121" fmla="*/ 308 h 364"/>
                <a:gd name="T122" fmla="*/ 1723 w 1743"/>
                <a:gd name="T123" fmla="*/ 293 h 364"/>
                <a:gd name="T124" fmla="*/ 1743 w 1743"/>
                <a:gd name="T125" fmla="*/ 364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43" h="364">
                  <a:moveTo>
                    <a:pt x="0" y="364"/>
                  </a:moveTo>
                  <a:lnTo>
                    <a:pt x="0" y="294"/>
                  </a:lnTo>
                  <a:lnTo>
                    <a:pt x="43" y="294"/>
                  </a:lnTo>
                  <a:lnTo>
                    <a:pt x="43" y="321"/>
                  </a:lnTo>
                  <a:lnTo>
                    <a:pt x="73" y="321"/>
                  </a:lnTo>
                  <a:lnTo>
                    <a:pt x="73" y="302"/>
                  </a:lnTo>
                  <a:lnTo>
                    <a:pt x="84" y="302"/>
                  </a:lnTo>
                  <a:lnTo>
                    <a:pt x="84" y="140"/>
                  </a:lnTo>
                  <a:lnTo>
                    <a:pt x="126" y="140"/>
                  </a:lnTo>
                  <a:lnTo>
                    <a:pt x="126" y="110"/>
                  </a:lnTo>
                  <a:lnTo>
                    <a:pt x="169" y="110"/>
                  </a:lnTo>
                  <a:lnTo>
                    <a:pt x="169" y="133"/>
                  </a:lnTo>
                  <a:lnTo>
                    <a:pt x="229" y="133"/>
                  </a:lnTo>
                  <a:lnTo>
                    <a:pt x="229" y="183"/>
                  </a:lnTo>
                  <a:lnTo>
                    <a:pt x="249" y="183"/>
                  </a:lnTo>
                  <a:lnTo>
                    <a:pt x="249" y="102"/>
                  </a:lnTo>
                  <a:lnTo>
                    <a:pt x="260" y="102"/>
                  </a:lnTo>
                  <a:lnTo>
                    <a:pt x="260" y="66"/>
                  </a:lnTo>
                  <a:lnTo>
                    <a:pt x="277" y="66"/>
                  </a:lnTo>
                  <a:lnTo>
                    <a:pt x="277" y="82"/>
                  </a:lnTo>
                  <a:lnTo>
                    <a:pt x="325" y="82"/>
                  </a:lnTo>
                  <a:lnTo>
                    <a:pt x="325" y="198"/>
                  </a:lnTo>
                  <a:lnTo>
                    <a:pt x="352" y="198"/>
                  </a:lnTo>
                  <a:lnTo>
                    <a:pt x="352" y="156"/>
                  </a:lnTo>
                  <a:lnTo>
                    <a:pt x="367" y="156"/>
                  </a:lnTo>
                  <a:lnTo>
                    <a:pt x="367" y="118"/>
                  </a:lnTo>
                  <a:lnTo>
                    <a:pt x="380" y="118"/>
                  </a:lnTo>
                  <a:lnTo>
                    <a:pt x="380" y="98"/>
                  </a:lnTo>
                  <a:lnTo>
                    <a:pt x="426" y="98"/>
                  </a:lnTo>
                  <a:lnTo>
                    <a:pt x="426" y="200"/>
                  </a:lnTo>
                  <a:lnTo>
                    <a:pt x="453" y="200"/>
                  </a:lnTo>
                  <a:lnTo>
                    <a:pt x="453" y="93"/>
                  </a:lnTo>
                  <a:lnTo>
                    <a:pt x="503" y="93"/>
                  </a:lnTo>
                  <a:lnTo>
                    <a:pt x="503" y="161"/>
                  </a:lnTo>
                  <a:lnTo>
                    <a:pt x="533" y="161"/>
                  </a:lnTo>
                  <a:lnTo>
                    <a:pt x="533" y="88"/>
                  </a:lnTo>
                  <a:lnTo>
                    <a:pt x="609" y="88"/>
                  </a:lnTo>
                  <a:lnTo>
                    <a:pt x="609" y="193"/>
                  </a:lnTo>
                  <a:lnTo>
                    <a:pt x="640" y="193"/>
                  </a:lnTo>
                  <a:lnTo>
                    <a:pt x="640" y="219"/>
                  </a:lnTo>
                  <a:lnTo>
                    <a:pt x="660" y="219"/>
                  </a:lnTo>
                  <a:lnTo>
                    <a:pt x="660" y="102"/>
                  </a:lnTo>
                  <a:lnTo>
                    <a:pt x="674" y="102"/>
                  </a:lnTo>
                  <a:lnTo>
                    <a:pt x="674" y="85"/>
                  </a:lnTo>
                  <a:lnTo>
                    <a:pt x="685" y="85"/>
                  </a:lnTo>
                  <a:lnTo>
                    <a:pt x="685" y="66"/>
                  </a:lnTo>
                  <a:lnTo>
                    <a:pt x="723" y="66"/>
                  </a:lnTo>
                  <a:lnTo>
                    <a:pt x="723" y="87"/>
                  </a:lnTo>
                  <a:lnTo>
                    <a:pt x="740" y="87"/>
                  </a:lnTo>
                  <a:lnTo>
                    <a:pt x="740" y="158"/>
                  </a:lnTo>
                  <a:lnTo>
                    <a:pt x="796" y="158"/>
                  </a:lnTo>
                  <a:lnTo>
                    <a:pt x="796" y="239"/>
                  </a:lnTo>
                  <a:lnTo>
                    <a:pt x="821" y="239"/>
                  </a:lnTo>
                  <a:lnTo>
                    <a:pt x="821" y="208"/>
                  </a:lnTo>
                  <a:lnTo>
                    <a:pt x="866" y="208"/>
                  </a:lnTo>
                  <a:lnTo>
                    <a:pt x="866" y="117"/>
                  </a:lnTo>
                  <a:lnTo>
                    <a:pt x="884" y="117"/>
                  </a:lnTo>
                  <a:lnTo>
                    <a:pt x="884" y="87"/>
                  </a:lnTo>
                  <a:lnTo>
                    <a:pt x="896" y="87"/>
                  </a:lnTo>
                  <a:lnTo>
                    <a:pt x="896" y="66"/>
                  </a:lnTo>
                  <a:lnTo>
                    <a:pt x="908" y="66"/>
                  </a:lnTo>
                  <a:lnTo>
                    <a:pt x="908" y="0"/>
                  </a:lnTo>
                  <a:lnTo>
                    <a:pt x="921" y="0"/>
                  </a:lnTo>
                  <a:lnTo>
                    <a:pt x="921" y="66"/>
                  </a:lnTo>
                  <a:lnTo>
                    <a:pt x="938" y="66"/>
                  </a:lnTo>
                  <a:lnTo>
                    <a:pt x="938" y="93"/>
                  </a:lnTo>
                  <a:lnTo>
                    <a:pt x="949" y="93"/>
                  </a:lnTo>
                  <a:lnTo>
                    <a:pt x="949" y="118"/>
                  </a:lnTo>
                  <a:lnTo>
                    <a:pt x="963" y="118"/>
                  </a:lnTo>
                  <a:lnTo>
                    <a:pt x="963" y="210"/>
                  </a:lnTo>
                  <a:lnTo>
                    <a:pt x="1021" y="210"/>
                  </a:lnTo>
                  <a:lnTo>
                    <a:pt x="1021" y="161"/>
                  </a:lnTo>
                  <a:lnTo>
                    <a:pt x="1036" y="161"/>
                  </a:lnTo>
                  <a:lnTo>
                    <a:pt x="1036" y="105"/>
                  </a:lnTo>
                  <a:lnTo>
                    <a:pt x="1046" y="105"/>
                  </a:lnTo>
                  <a:lnTo>
                    <a:pt x="1046" y="77"/>
                  </a:lnTo>
                  <a:lnTo>
                    <a:pt x="1080" y="77"/>
                  </a:lnTo>
                  <a:lnTo>
                    <a:pt x="1080" y="105"/>
                  </a:lnTo>
                  <a:lnTo>
                    <a:pt x="1094" y="105"/>
                  </a:lnTo>
                  <a:lnTo>
                    <a:pt x="1094" y="168"/>
                  </a:lnTo>
                  <a:lnTo>
                    <a:pt x="1105" y="168"/>
                  </a:lnTo>
                  <a:lnTo>
                    <a:pt x="1105" y="239"/>
                  </a:lnTo>
                  <a:lnTo>
                    <a:pt x="1155" y="239"/>
                  </a:lnTo>
                  <a:lnTo>
                    <a:pt x="1155" y="161"/>
                  </a:lnTo>
                  <a:lnTo>
                    <a:pt x="1167" y="161"/>
                  </a:lnTo>
                  <a:lnTo>
                    <a:pt x="1167" y="208"/>
                  </a:lnTo>
                  <a:lnTo>
                    <a:pt x="1193" y="208"/>
                  </a:lnTo>
                  <a:lnTo>
                    <a:pt x="1193" y="186"/>
                  </a:lnTo>
                  <a:lnTo>
                    <a:pt x="1246" y="186"/>
                  </a:lnTo>
                  <a:lnTo>
                    <a:pt x="1246" y="276"/>
                  </a:lnTo>
                  <a:lnTo>
                    <a:pt x="1268" y="276"/>
                  </a:lnTo>
                  <a:lnTo>
                    <a:pt x="1268" y="251"/>
                  </a:lnTo>
                  <a:lnTo>
                    <a:pt x="1283" y="251"/>
                  </a:lnTo>
                  <a:lnTo>
                    <a:pt x="1283" y="229"/>
                  </a:lnTo>
                  <a:lnTo>
                    <a:pt x="1305" y="229"/>
                  </a:lnTo>
                  <a:lnTo>
                    <a:pt x="1305" y="259"/>
                  </a:lnTo>
                  <a:lnTo>
                    <a:pt x="1323" y="259"/>
                  </a:lnTo>
                  <a:lnTo>
                    <a:pt x="1323" y="186"/>
                  </a:lnTo>
                  <a:lnTo>
                    <a:pt x="1329" y="186"/>
                  </a:lnTo>
                  <a:lnTo>
                    <a:pt x="1329" y="228"/>
                  </a:lnTo>
                  <a:lnTo>
                    <a:pt x="1349" y="228"/>
                  </a:lnTo>
                  <a:lnTo>
                    <a:pt x="1349" y="215"/>
                  </a:lnTo>
                  <a:lnTo>
                    <a:pt x="1394" y="215"/>
                  </a:lnTo>
                  <a:lnTo>
                    <a:pt x="1394" y="238"/>
                  </a:lnTo>
                  <a:lnTo>
                    <a:pt x="1428" y="238"/>
                  </a:lnTo>
                  <a:lnTo>
                    <a:pt x="1428" y="264"/>
                  </a:lnTo>
                  <a:lnTo>
                    <a:pt x="1456" y="264"/>
                  </a:lnTo>
                  <a:lnTo>
                    <a:pt x="1456" y="293"/>
                  </a:lnTo>
                  <a:lnTo>
                    <a:pt x="1477" y="293"/>
                  </a:lnTo>
                  <a:lnTo>
                    <a:pt x="1477" y="268"/>
                  </a:lnTo>
                  <a:lnTo>
                    <a:pt x="1530" y="268"/>
                  </a:lnTo>
                  <a:lnTo>
                    <a:pt x="1530" y="238"/>
                  </a:lnTo>
                  <a:lnTo>
                    <a:pt x="1544" y="238"/>
                  </a:lnTo>
                  <a:lnTo>
                    <a:pt x="1544" y="286"/>
                  </a:lnTo>
                  <a:lnTo>
                    <a:pt x="1569" y="286"/>
                  </a:lnTo>
                  <a:lnTo>
                    <a:pt x="1569" y="226"/>
                  </a:lnTo>
                  <a:lnTo>
                    <a:pt x="1602" y="226"/>
                  </a:lnTo>
                  <a:lnTo>
                    <a:pt x="1602" y="258"/>
                  </a:lnTo>
                  <a:lnTo>
                    <a:pt x="1653" y="258"/>
                  </a:lnTo>
                  <a:lnTo>
                    <a:pt x="1653" y="278"/>
                  </a:lnTo>
                  <a:lnTo>
                    <a:pt x="1691" y="278"/>
                  </a:lnTo>
                  <a:lnTo>
                    <a:pt x="1691" y="308"/>
                  </a:lnTo>
                  <a:lnTo>
                    <a:pt x="1723" y="308"/>
                  </a:lnTo>
                  <a:lnTo>
                    <a:pt x="1723" y="293"/>
                  </a:lnTo>
                  <a:lnTo>
                    <a:pt x="1743" y="293"/>
                  </a:lnTo>
                  <a:lnTo>
                    <a:pt x="1743" y="364"/>
                  </a:lnTo>
                  <a:lnTo>
                    <a:pt x="0" y="364"/>
                  </a:lnTo>
                  <a:close/>
                </a:path>
              </a:pathLst>
            </a:custGeom>
            <a:solidFill>
              <a:srgbClr val="DFE6ED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65" name="Rectangle 15">
              <a:extLst>
                <a:ext uri="{FF2B5EF4-FFF2-40B4-BE49-F238E27FC236}">
                  <a16:creationId xmlns:a16="http://schemas.microsoft.com/office/drawing/2014/main" id="{5DF91094-7225-46BF-BCD8-95CE6FCAFA9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0" y="5897530"/>
              <a:ext cx="12196800" cy="56320"/>
            </a:xfrm>
            <a:prstGeom prst="rect">
              <a:avLst/>
            </a:prstGeom>
            <a:solidFill>
              <a:srgbClr val="BECDD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</p:grpSp>
      <p:grpSp>
        <p:nvGrpSpPr>
          <p:cNvPr id="266" name="Group 42">
            <a:extLst>
              <a:ext uri="{FF2B5EF4-FFF2-40B4-BE49-F238E27FC236}">
                <a16:creationId xmlns:a16="http://schemas.microsoft.com/office/drawing/2014/main" id="{59CA9000-A6E6-4718-90F0-6B629FC0017F}"/>
              </a:ext>
            </a:extLst>
          </p:cNvPr>
          <p:cNvGrpSpPr>
            <a:grpSpLocks/>
          </p:cNvGrpSpPr>
          <p:nvPr/>
        </p:nvGrpSpPr>
        <p:grpSpPr bwMode="gray">
          <a:xfrm>
            <a:off x="-13116" y="5676883"/>
            <a:ext cx="4043424" cy="497631"/>
            <a:chOff x="625075" y="4953509"/>
            <a:chExt cx="6721341" cy="827207"/>
          </a:xfrm>
        </p:grpSpPr>
        <p:sp>
          <p:nvSpPr>
            <p:cNvPr id="267" name="Freeform 5">
              <a:extLst>
                <a:ext uri="{FF2B5EF4-FFF2-40B4-BE49-F238E27FC236}">
                  <a16:creationId xmlns:a16="http://schemas.microsoft.com/office/drawing/2014/main" id="{0A70E652-B892-4996-8FE7-85CBCCA8AF50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3409" y="5228786"/>
              <a:ext cx="2185165" cy="551929"/>
            </a:xfrm>
            <a:custGeom>
              <a:avLst/>
              <a:gdLst>
                <a:gd name="T0" fmla="*/ 0 w 1647"/>
                <a:gd name="T1" fmla="*/ 0 h 416"/>
                <a:gd name="T2" fmla="*/ 0 w 1647"/>
                <a:gd name="T3" fmla="*/ 416 h 416"/>
                <a:gd name="T4" fmla="*/ 48 w 1647"/>
                <a:gd name="T5" fmla="*/ 416 h 416"/>
                <a:gd name="T6" fmla="*/ 48 w 1647"/>
                <a:gd name="T7" fmla="*/ 354 h 416"/>
                <a:gd name="T8" fmla="*/ 426 w 1647"/>
                <a:gd name="T9" fmla="*/ 354 h 416"/>
                <a:gd name="T10" fmla="*/ 426 w 1647"/>
                <a:gd name="T11" fmla="*/ 416 h 416"/>
                <a:gd name="T12" fmla="*/ 1221 w 1647"/>
                <a:gd name="T13" fmla="*/ 416 h 416"/>
                <a:gd name="T14" fmla="*/ 1221 w 1647"/>
                <a:gd name="T15" fmla="*/ 354 h 416"/>
                <a:gd name="T16" fmla="*/ 1599 w 1647"/>
                <a:gd name="T17" fmla="*/ 354 h 416"/>
                <a:gd name="T18" fmla="*/ 1599 w 1647"/>
                <a:gd name="T19" fmla="*/ 416 h 416"/>
                <a:gd name="T20" fmla="*/ 1647 w 1647"/>
                <a:gd name="T21" fmla="*/ 416 h 416"/>
                <a:gd name="T22" fmla="*/ 1647 w 1647"/>
                <a:gd name="T23" fmla="*/ 0 h 416"/>
                <a:gd name="T24" fmla="*/ 0 w 1647"/>
                <a:gd name="T25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47" h="416">
                  <a:moveTo>
                    <a:pt x="0" y="0"/>
                  </a:moveTo>
                  <a:lnTo>
                    <a:pt x="0" y="416"/>
                  </a:lnTo>
                  <a:lnTo>
                    <a:pt x="48" y="416"/>
                  </a:lnTo>
                  <a:lnTo>
                    <a:pt x="48" y="354"/>
                  </a:lnTo>
                  <a:lnTo>
                    <a:pt x="426" y="354"/>
                  </a:lnTo>
                  <a:lnTo>
                    <a:pt x="426" y="416"/>
                  </a:lnTo>
                  <a:lnTo>
                    <a:pt x="1221" y="416"/>
                  </a:lnTo>
                  <a:lnTo>
                    <a:pt x="1221" y="354"/>
                  </a:lnTo>
                  <a:lnTo>
                    <a:pt x="1599" y="354"/>
                  </a:lnTo>
                  <a:lnTo>
                    <a:pt x="1599" y="416"/>
                  </a:lnTo>
                  <a:lnTo>
                    <a:pt x="1647" y="416"/>
                  </a:lnTo>
                  <a:lnTo>
                    <a:pt x="164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68" name="Freeform 6">
              <a:extLst>
                <a:ext uri="{FF2B5EF4-FFF2-40B4-BE49-F238E27FC236}">
                  <a16:creationId xmlns:a16="http://schemas.microsoft.com/office/drawing/2014/main" id="{26B47903-B039-48A8-B579-447189F951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63071" y="5228786"/>
              <a:ext cx="2283345" cy="551929"/>
            </a:xfrm>
            <a:custGeom>
              <a:avLst/>
              <a:gdLst>
                <a:gd name="T0" fmla="*/ 704 w 728"/>
                <a:gd name="T1" fmla="*/ 110 h 174"/>
                <a:gd name="T2" fmla="*/ 668 w 728"/>
                <a:gd name="T3" fmla="*/ 75 h 174"/>
                <a:gd name="T4" fmla="*/ 548 w 728"/>
                <a:gd name="T5" fmla="*/ 42 h 174"/>
                <a:gd name="T6" fmla="*/ 535 w 728"/>
                <a:gd name="T7" fmla="*/ 8 h 174"/>
                <a:gd name="T8" fmla="*/ 470 w 728"/>
                <a:gd name="T9" fmla="*/ 0 h 174"/>
                <a:gd name="T10" fmla="*/ 0 w 728"/>
                <a:gd name="T11" fmla="*/ 0 h 174"/>
                <a:gd name="T12" fmla="*/ 0 w 728"/>
                <a:gd name="T13" fmla="*/ 174 h 174"/>
                <a:gd name="T14" fmla="*/ 22 w 728"/>
                <a:gd name="T15" fmla="*/ 174 h 174"/>
                <a:gd name="T16" fmla="*/ 22 w 728"/>
                <a:gd name="T17" fmla="*/ 148 h 174"/>
                <a:gd name="T18" fmla="*/ 182 w 728"/>
                <a:gd name="T19" fmla="*/ 148 h 174"/>
                <a:gd name="T20" fmla="*/ 182 w 728"/>
                <a:gd name="T21" fmla="*/ 174 h 174"/>
                <a:gd name="T22" fmla="*/ 400 w 728"/>
                <a:gd name="T23" fmla="*/ 174 h 174"/>
                <a:gd name="T24" fmla="*/ 400 w 728"/>
                <a:gd name="T25" fmla="*/ 148 h 174"/>
                <a:gd name="T26" fmla="*/ 560 w 728"/>
                <a:gd name="T27" fmla="*/ 148 h 174"/>
                <a:gd name="T28" fmla="*/ 560 w 728"/>
                <a:gd name="T29" fmla="*/ 174 h 174"/>
                <a:gd name="T30" fmla="*/ 636 w 728"/>
                <a:gd name="T31" fmla="*/ 174 h 174"/>
                <a:gd name="T32" fmla="*/ 704 w 728"/>
                <a:gd name="T33" fmla="*/ 11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8" h="174">
                  <a:moveTo>
                    <a:pt x="704" y="110"/>
                  </a:moveTo>
                  <a:cubicBezTo>
                    <a:pt x="700" y="105"/>
                    <a:pt x="688" y="90"/>
                    <a:pt x="668" y="75"/>
                  </a:cubicBezTo>
                  <a:cubicBezTo>
                    <a:pt x="611" y="74"/>
                    <a:pt x="574" y="66"/>
                    <a:pt x="548" y="42"/>
                  </a:cubicBezTo>
                  <a:cubicBezTo>
                    <a:pt x="536" y="30"/>
                    <a:pt x="533" y="18"/>
                    <a:pt x="535" y="8"/>
                  </a:cubicBezTo>
                  <a:cubicBezTo>
                    <a:pt x="514" y="3"/>
                    <a:pt x="492" y="0"/>
                    <a:pt x="470" y="0"/>
                  </a:cubicBezTo>
                  <a:cubicBezTo>
                    <a:pt x="346" y="0"/>
                    <a:pt x="0" y="0"/>
                    <a:pt x="0" y="0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8" y="174"/>
                    <a:pt x="22" y="174"/>
                  </a:cubicBezTo>
                  <a:cubicBezTo>
                    <a:pt x="22" y="148"/>
                    <a:pt x="22" y="148"/>
                    <a:pt x="22" y="148"/>
                  </a:cubicBezTo>
                  <a:cubicBezTo>
                    <a:pt x="182" y="148"/>
                    <a:pt x="182" y="148"/>
                    <a:pt x="182" y="148"/>
                  </a:cubicBezTo>
                  <a:cubicBezTo>
                    <a:pt x="182" y="174"/>
                    <a:pt x="182" y="174"/>
                    <a:pt x="182" y="174"/>
                  </a:cubicBezTo>
                  <a:cubicBezTo>
                    <a:pt x="250" y="174"/>
                    <a:pt x="327" y="174"/>
                    <a:pt x="400" y="174"/>
                  </a:cubicBezTo>
                  <a:cubicBezTo>
                    <a:pt x="400" y="148"/>
                    <a:pt x="400" y="148"/>
                    <a:pt x="400" y="148"/>
                  </a:cubicBezTo>
                  <a:cubicBezTo>
                    <a:pt x="560" y="148"/>
                    <a:pt x="560" y="148"/>
                    <a:pt x="560" y="148"/>
                  </a:cubicBezTo>
                  <a:cubicBezTo>
                    <a:pt x="560" y="174"/>
                    <a:pt x="560" y="174"/>
                    <a:pt x="560" y="174"/>
                  </a:cubicBezTo>
                  <a:cubicBezTo>
                    <a:pt x="594" y="174"/>
                    <a:pt x="621" y="174"/>
                    <a:pt x="636" y="174"/>
                  </a:cubicBezTo>
                  <a:cubicBezTo>
                    <a:pt x="728" y="174"/>
                    <a:pt x="718" y="129"/>
                    <a:pt x="704" y="110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69" name="Freeform 7">
              <a:extLst>
                <a:ext uri="{FF2B5EF4-FFF2-40B4-BE49-F238E27FC236}">
                  <a16:creationId xmlns:a16="http://schemas.microsoft.com/office/drawing/2014/main" id="{03A3AC41-3F2E-49F1-A64E-68D9C887A75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0704" y="5269915"/>
              <a:ext cx="370164" cy="181765"/>
            </a:xfrm>
            <a:custGeom>
              <a:avLst/>
              <a:gdLst>
                <a:gd name="T0" fmla="*/ 118 w 118"/>
                <a:gd name="T1" fmla="*/ 57 h 57"/>
                <a:gd name="T2" fmla="*/ 13 w 118"/>
                <a:gd name="T3" fmla="*/ 26 h 57"/>
                <a:gd name="T4" fmla="*/ 1 w 118"/>
                <a:gd name="T5" fmla="*/ 0 h 57"/>
                <a:gd name="T6" fmla="*/ 118 w 118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" h="57">
                  <a:moveTo>
                    <a:pt x="118" y="57"/>
                  </a:moveTo>
                  <a:cubicBezTo>
                    <a:pt x="66" y="56"/>
                    <a:pt x="34" y="46"/>
                    <a:pt x="13" y="26"/>
                  </a:cubicBezTo>
                  <a:cubicBezTo>
                    <a:pt x="5" y="18"/>
                    <a:pt x="0" y="9"/>
                    <a:pt x="1" y="0"/>
                  </a:cubicBezTo>
                  <a:cubicBezTo>
                    <a:pt x="52" y="14"/>
                    <a:pt x="93" y="39"/>
                    <a:pt x="118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0" name="Rectangle 8">
              <a:extLst>
                <a:ext uri="{FF2B5EF4-FFF2-40B4-BE49-F238E27FC236}">
                  <a16:creationId xmlns:a16="http://schemas.microsoft.com/office/drawing/2014/main" id="{E7D135CF-7CCD-4B4B-ADC2-24DFB3BE7FB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284638" y="5346867"/>
              <a:ext cx="788092" cy="212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1" name="Freeform 9">
              <a:extLst>
                <a:ext uri="{FF2B5EF4-FFF2-40B4-BE49-F238E27FC236}">
                  <a16:creationId xmlns:a16="http://schemas.microsoft.com/office/drawing/2014/main" id="{E1B74C06-5A4A-4071-A24E-763B6892CF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9880" y="5346867"/>
              <a:ext cx="691239" cy="212280"/>
            </a:xfrm>
            <a:custGeom>
              <a:avLst/>
              <a:gdLst>
                <a:gd name="T0" fmla="*/ 521 w 521"/>
                <a:gd name="T1" fmla="*/ 160 h 160"/>
                <a:gd name="T2" fmla="*/ 0 w 521"/>
                <a:gd name="T3" fmla="*/ 160 h 160"/>
                <a:gd name="T4" fmla="*/ 0 w 521"/>
                <a:gd name="T5" fmla="*/ 0 h 160"/>
                <a:gd name="T6" fmla="*/ 414 w 521"/>
                <a:gd name="T7" fmla="*/ 0 h 160"/>
                <a:gd name="T8" fmla="*/ 521 w 521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1" h="160">
                  <a:moveTo>
                    <a:pt x="521" y="160"/>
                  </a:moveTo>
                  <a:lnTo>
                    <a:pt x="0" y="160"/>
                  </a:lnTo>
                  <a:lnTo>
                    <a:pt x="0" y="0"/>
                  </a:lnTo>
                  <a:lnTo>
                    <a:pt x="414" y="0"/>
                  </a:lnTo>
                  <a:lnTo>
                    <a:pt x="521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2" name="Rectangle 10">
              <a:extLst>
                <a:ext uri="{FF2B5EF4-FFF2-40B4-BE49-F238E27FC236}">
                  <a16:creationId xmlns:a16="http://schemas.microsoft.com/office/drawing/2014/main" id="{FF2FA3CF-1D7D-4095-B97A-F782D68012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082225" y="5346867"/>
              <a:ext cx="910154" cy="212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3" name="Rectangle 11">
              <a:extLst>
                <a:ext uri="{FF2B5EF4-FFF2-40B4-BE49-F238E27FC236}">
                  <a16:creationId xmlns:a16="http://schemas.microsoft.com/office/drawing/2014/main" id="{EDCED1FA-85C5-415A-99C5-876CDE8EE08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033509" y="5346867"/>
              <a:ext cx="947303" cy="212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4" name="Freeform 12">
              <a:extLst>
                <a:ext uri="{FF2B5EF4-FFF2-40B4-BE49-F238E27FC236}">
                  <a16:creationId xmlns:a16="http://schemas.microsoft.com/office/drawing/2014/main" id="{1A708CE9-91E7-4AED-8928-E994C568DE4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5075" y="5228786"/>
              <a:ext cx="2183839" cy="551929"/>
            </a:xfrm>
            <a:custGeom>
              <a:avLst/>
              <a:gdLst>
                <a:gd name="T0" fmla="*/ 0 w 1646"/>
                <a:gd name="T1" fmla="*/ 0 h 416"/>
                <a:gd name="T2" fmla="*/ 0 w 1646"/>
                <a:gd name="T3" fmla="*/ 416 h 416"/>
                <a:gd name="T4" fmla="*/ 45 w 1646"/>
                <a:gd name="T5" fmla="*/ 416 h 416"/>
                <a:gd name="T6" fmla="*/ 45 w 1646"/>
                <a:gd name="T7" fmla="*/ 354 h 416"/>
                <a:gd name="T8" fmla="*/ 424 w 1646"/>
                <a:gd name="T9" fmla="*/ 354 h 416"/>
                <a:gd name="T10" fmla="*/ 424 w 1646"/>
                <a:gd name="T11" fmla="*/ 416 h 416"/>
                <a:gd name="T12" fmla="*/ 1218 w 1646"/>
                <a:gd name="T13" fmla="*/ 416 h 416"/>
                <a:gd name="T14" fmla="*/ 1218 w 1646"/>
                <a:gd name="T15" fmla="*/ 354 h 416"/>
                <a:gd name="T16" fmla="*/ 1597 w 1646"/>
                <a:gd name="T17" fmla="*/ 354 h 416"/>
                <a:gd name="T18" fmla="*/ 1597 w 1646"/>
                <a:gd name="T19" fmla="*/ 416 h 416"/>
                <a:gd name="T20" fmla="*/ 1646 w 1646"/>
                <a:gd name="T21" fmla="*/ 416 h 416"/>
                <a:gd name="T22" fmla="*/ 1646 w 1646"/>
                <a:gd name="T23" fmla="*/ 0 h 416"/>
                <a:gd name="T24" fmla="*/ 0 w 1646"/>
                <a:gd name="T25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46" h="416">
                  <a:moveTo>
                    <a:pt x="0" y="0"/>
                  </a:moveTo>
                  <a:lnTo>
                    <a:pt x="0" y="416"/>
                  </a:lnTo>
                  <a:lnTo>
                    <a:pt x="45" y="416"/>
                  </a:lnTo>
                  <a:lnTo>
                    <a:pt x="45" y="354"/>
                  </a:lnTo>
                  <a:lnTo>
                    <a:pt x="424" y="354"/>
                  </a:lnTo>
                  <a:lnTo>
                    <a:pt x="424" y="416"/>
                  </a:lnTo>
                  <a:lnTo>
                    <a:pt x="1218" y="416"/>
                  </a:lnTo>
                  <a:lnTo>
                    <a:pt x="1218" y="354"/>
                  </a:lnTo>
                  <a:lnTo>
                    <a:pt x="1597" y="354"/>
                  </a:lnTo>
                  <a:lnTo>
                    <a:pt x="1597" y="416"/>
                  </a:lnTo>
                  <a:lnTo>
                    <a:pt x="1646" y="416"/>
                  </a:lnTo>
                  <a:lnTo>
                    <a:pt x="16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5" name="Rectangle 13">
              <a:extLst>
                <a:ext uri="{FF2B5EF4-FFF2-40B4-BE49-F238E27FC236}">
                  <a16:creationId xmlns:a16="http://schemas.microsoft.com/office/drawing/2014/main" id="{F55274AE-5BA7-4D46-8A68-2C06E2C6AC5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63890" y="5346867"/>
              <a:ext cx="907500" cy="212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6" name="Rectangle 14">
              <a:extLst>
                <a:ext uri="{FF2B5EF4-FFF2-40B4-BE49-F238E27FC236}">
                  <a16:creationId xmlns:a16="http://schemas.microsoft.com/office/drawing/2014/main" id="{B7BEA4D2-8D65-4CD1-A84F-18C1B6625C3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11193" y="5346867"/>
              <a:ext cx="951284" cy="2122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7" name="Rectangle 44">
              <a:extLst>
                <a:ext uri="{FF2B5EF4-FFF2-40B4-BE49-F238E27FC236}">
                  <a16:creationId xmlns:a16="http://schemas.microsoft.com/office/drawing/2014/main" id="{497998A6-9D8D-4C86-B2B1-353B59FD28D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59570" y="5657328"/>
              <a:ext cx="2105560" cy="123388"/>
            </a:xfrm>
            <a:prstGeom prst="rect">
              <a:avLst/>
            </a:pr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8" name="Rectangle 45">
              <a:extLst>
                <a:ext uri="{FF2B5EF4-FFF2-40B4-BE49-F238E27FC236}">
                  <a16:creationId xmlns:a16="http://schemas.microsoft.com/office/drawing/2014/main" id="{057E80D8-0F3B-4C34-A231-9BBA501935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884538" y="5657328"/>
              <a:ext cx="2102907" cy="123388"/>
            </a:xfrm>
            <a:prstGeom prst="rect">
              <a:avLst/>
            </a:pr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79" name="Rectangle 46">
              <a:extLst>
                <a:ext uri="{FF2B5EF4-FFF2-40B4-BE49-F238E27FC236}">
                  <a16:creationId xmlns:a16="http://schemas.microsoft.com/office/drawing/2014/main" id="{6538EA7B-2C19-4C5F-8055-FB4068B502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3586" y="5659981"/>
              <a:ext cx="1857458" cy="120734"/>
            </a:xfrm>
            <a:prstGeom prst="rect">
              <a:avLst/>
            </a:prstGeom>
            <a:solidFill>
              <a:srgbClr val="0F8287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80" name="Rectangle 47">
              <a:extLst>
                <a:ext uri="{FF2B5EF4-FFF2-40B4-BE49-F238E27FC236}">
                  <a16:creationId xmlns:a16="http://schemas.microsoft.com/office/drawing/2014/main" id="{1790257C-EB9D-4AF0-B416-FC9C70E900D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18794" y="5346867"/>
              <a:ext cx="119408" cy="3900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81" name="Rectangle 48">
              <a:extLst>
                <a:ext uri="{FF2B5EF4-FFF2-40B4-BE49-F238E27FC236}">
                  <a16:creationId xmlns:a16="http://schemas.microsoft.com/office/drawing/2014/main" id="{5B187200-B787-4BAE-99AB-6C631D2E9E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12400" y="5346867"/>
              <a:ext cx="123388" cy="3900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82" name="Rectangle 49">
              <a:extLst>
                <a:ext uri="{FF2B5EF4-FFF2-40B4-BE49-F238E27FC236}">
                  <a16:creationId xmlns:a16="http://schemas.microsoft.com/office/drawing/2014/main" id="{1A8F8CD6-C1AF-4D2C-A48D-469487BCBC8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94065" y="5346867"/>
              <a:ext cx="119408" cy="39006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ea typeface="Arial Unicode MS"/>
              </a:endParaRPr>
            </a:p>
          </p:txBody>
        </p:sp>
        <p:sp>
          <p:nvSpPr>
            <p:cNvPr id="283" name="Parallelogram 84">
              <a:extLst>
                <a:ext uri="{FF2B5EF4-FFF2-40B4-BE49-F238E27FC236}">
                  <a16:creationId xmlns:a16="http://schemas.microsoft.com/office/drawing/2014/main" id="{65BD72A0-7492-492F-AD74-57D8EA4B7F4F}"/>
                </a:ext>
              </a:extLst>
            </p:cNvPr>
            <p:cNvSpPr/>
            <p:nvPr/>
          </p:nvSpPr>
          <p:spPr bwMode="gray">
            <a:xfrm flipH="1">
              <a:off x="5839047" y="5022730"/>
              <a:ext cx="298831" cy="206056"/>
            </a:xfrm>
            <a:prstGeom prst="parallelogram">
              <a:avLst>
                <a:gd name="adj" fmla="val 108081"/>
              </a:avLst>
            </a:prstGeom>
            <a:solidFill>
              <a:srgbClr val="0F8287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b="1" dirty="0">
                <a:ea typeface="Arial Unicode MS"/>
              </a:endParaRPr>
            </a:p>
          </p:txBody>
        </p:sp>
        <p:sp>
          <p:nvSpPr>
            <p:cNvPr id="284" name="Parallelogram 85">
              <a:extLst>
                <a:ext uri="{FF2B5EF4-FFF2-40B4-BE49-F238E27FC236}">
                  <a16:creationId xmlns:a16="http://schemas.microsoft.com/office/drawing/2014/main" id="{0698AEBB-4D70-407F-B139-31EA05BA45EE}"/>
                </a:ext>
              </a:extLst>
            </p:cNvPr>
            <p:cNvSpPr/>
            <p:nvPr/>
          </p:nvSpPr>
          <p:spPr bwMode="gray">
            <a:xfrm rot="3048267">
              <a:off x="5737822" y="4976419"/>
              <a:ext cx="187351" cy="141531"/>
            </a:xfrm>
            <a:prstGeom prst="parallelogram">
              <a:avLst>
                <a:gd name="adj" fmla="val 86184"/>
              </a:avLst>
            </a:prstGeom>
            <a:solidFill>
              <a:srgbClr val="0F8287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799" b="1" dirty="0">
                <a:ea typeface="Arial Unicode MS"/>
              </a:endParaRPr>
            </a:p>
          </p:txBody>
        </p:sp>
      </p:grpSp>
      <p:grpSp>
        <p:nvGrpSpPr>
          <p:cNvPr id="285" name="Gruppieren 112">
            <a:extLst>
              <a:ext uri="{FF2B5EF4-FFF2-40B4-BE49-F238E27FC236}">
                <a16:creationId xmlns:a16="http://schemas.microsoft.com/office/drawing/2014/main" id="{0661D7EF-E76F-48CD-8F5E-132EB56A8382}"/>
              </a:ext>
            </a:extLst>
          </p:cNvPr>
          <p:cNvGrpSpPr>
            <a:grpSpLocks/>
          </p:cNvGrpSpPr>
          <p:nvPr/>
        </p:nvGrpSpPr>
        <p:grpSpPr bwMode="gray">
          <a:xfrm>
            <a:off x="71936" y="5523882"/>
            <a:ext cx="4291045" cy="171576"/>
            <a:chOff x="-275067" y="5529062"/>
            <a:chExt cx="4293280" cy="171665"/>
          </a:xfrm>
        </p:grpSpPr>
        <p:grpSp>
          <p:nvGrpSpPr>
            <p:cNvPr id="286" name="Group 101">
              <a:extLst>
                <a:ext uri="{FF2B5EF4-FFF2-40B4-BE49-F238E27FC236}">
                  <a16:creationId xmlns:a16="http://schemas.microsoft.com/office/drawing/2014/main" id="{9C2D75EB-2F53-4E07-83D4-F3EF7C391160}"/>
                </a:ext>
              </a:extLst>
            </p:cNvPr>
            <p:cNvGrpSpPr/>
            <p:nvPr/>
          </p:nvGrpSpPr>
          <p:grpSpPr bwMode="gray">
            <a:xfrm>
              <a:off x="-253966" y="5650249"/>
              <a:ext cx="3275710" cy="50478"/>
              <a:chOff x="4300063" y="3282246"/>
              <a:chExt cx="3317581" cy="51123"/>
            </a:xfrm>
            <a:solidFill>
              <a:srgbClr val="4BB9B9"/>
            </a:solidFill>
          </p:grpSpPr>
          <p:sp>
            <p:nvSpPr>
              <p:cNvPr id="326" name="Freeform 886">
                <a:extLst>
                  <a:ext uri="{FF2B5EF4-FFF2-40B4-BE49-F238E27FC236}">
                    <a16:creationId xmlns:a16="http://schemas.microsoft.com/office/drawing/2014/main" id="{A28023F0-06B9-448B-B297-D2A6A837AE8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00063" y="3284040"/>
                <a:ext cx="30495" cy="49329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27" name="Freeform 887">
                <a:extLst>
                  <a:ext uri="{FF2B5EF4-FFF2-40B4-BE49-F238E27FC236}">
                    <a16:creationId xmlns:a16="http://schemas.microsoft.com/office/drawing/2014/main" id="{1EA3EC6F-F45E-45ED-BE79-FA3FBC649CD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84369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28" name="Freeform 888">
                <a:extLst>
                  <a:ext uri="{FF2B5EF4-FFF2-40B4-BE49-F238E27FC236}">
                    <a16:creationId xmlns:a16="http://schemas.microsoft.com/office/drawing/2014/main" id="{09EF73DB-9026-4EA3-89B3-AFF29E2EA3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72265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30 w 36"/>
                  <a:gd name="T9" fmla="*/ 0 h 55"/>
                  <a:gd name="T10" fmla="*/ 30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30" y="0"/>
                    </a:lnTo>
                    <a:lnTo>
                      <a:pt x="30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29" name="Freeform 889">
                <a:extLst>
                  <a:ext uri="{FF2B5EF4-FFF2-40B4-BE49-F238E27FC236}">
                    <a16:creationId xmlns:a16="http://schemas.microsoft.com/office/drawing/2014/main" id="{354C4B89-78D7-4DC8-B5F3-D27E4B0548E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57468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0" name="Freeform 890">
                <a:extLst>
                  <a:ext uri="{FF2B5EF4-FFF2-40B4-BE49-F238E27FC236}">
                    <a16:creationId xmlns:a16="http://schemas.microsoft.com/office/drawing/2014/main" id="{B4BB566B-D2B2-485D-A328-39CC169877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5364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1" name="Freeform 891">
                <a:extLst>
                  <a:ext uri="{FF2B5EF4-FFF2-40B4-BE49-F238E27FC236}">
                    <a16:creationId xmlns:a16="http://schemas.microsoft.com/office/drawing/2014/main" id="{07AE4108-9BF3-40DF-B5E4-1E365FD111F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731464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2" name="Freeform 892">
                <a:extLst>
                  <a:ext uri="{FF2B5EF4-FFF2-40B4-BE49-F238E27FC236}">
                    <a16:creationId xmlns:a16="http://schemas.microsoft.com/office/drawing/2014/main" id="{5CE734C6-6222-4BDD-A3A2-F5739390575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9360" y="3284040"/>
                <a:ext cx="30495" cy="49329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8 w 34"/>
                  <a:gd name="T17" fmla="*/ 55 h 55"/>
                  <a:gd name="T18" fmla="*/ 8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3" name="Freeform 893">
                <a:extLst>
                  <a:ext uri="{FF2B5EF4-FFF2-40B4-BE49-F238E27FC236}">
                    <a16:creationId xmlns:a16="http://schemas.microsoft.com/office/drawing/2014/main" id="{545C198B-B349-445B-86A8-F7A6410E19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05461" y="3284040"/>
                <a:ext cx="32287" cy="49329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4" name="Freeform 894">
                <a:extLst>
                  <a:ext uri="{FF2B5EF4-FFF2-40B4-BE49-F238E27FC236}">
                    <a16:creationId xmlns:a16="http://schemas.microsoft.com/office/drawing/2014/main" id="{8A820F80-69D6-4453-B247-05C22C90DA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1562" y="3284040"/>
                <a:ext cx="32287" cy="49329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5" name="Freeform 895">
                <a:extLst>
                  <a:ext uri="{FF2B5EF4-FFF2-40B4-BE49-F238E27FC236}">
                    <a16:creationId xmlns:a16="http://schemas.microsoft.com/office/drawing/2014/main" id="{02CCB752-E8EC-4E2E-85C5-BEE17B252B5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75869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6" name="Freeform 896">
                <a:extLst>
                  <a:ext uri="{FF2B5EF4-FFF2-40B4-BE49-F238E27FC236}">
                    <a16:creationId xmlns:a16="http://schemas.microsoft.com/office/drawing/2014/main" id="{8009EB83-0713-4828-9A27-652D2625F42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63765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7" name="Freeform 897">
                <a:extLst>
                  <a:ext uri="{FF2B5EF4-FFF2-40B4-BE49-F238E27FC236}">
                    <a16:creationId xmlns:a16="http://schemas.microsoft.com/office/drawing/2014/main" id="{8A989C4E-8DC2-423D-A6BC-F8290849BDA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48968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8" name="Freeform 898">
                <a:extLst>
                  <a:ext uri="{FF2B5EF4-FFF2-40B4-BE49-F238E27FC236}">
                    <a16:creationId xmlns:a16="http://schemas.microsoft.com/office/drawing/2014/main" id="{11F20C4D-EC51-4ED1-952F-C62622C00DE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336863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39" name="Freeform 899">
                <a:extLst>
                  <a:ext uri="{FF2B5EF4-FFF2-40B4-BE49-F238E27FC236}">
                    <a16:creationId xmlns:a16="http://schemas.microsoft.com/office/drawing/2014/main" id="{CAA0D17C-7BD4-41D4-9A93-C638DF72156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23862" y="3284040"/>
                <a:ext cx="31391" cy="49329"/>
              </a:xfrm>
              <a:custGeom>
                <a:avLst/>
                <a:gdLst>
                  <a:gd name="T0" fmla="*/ 16 w 35"/>
                  <a:gd name="T1" fmla="*/ 12 h 55"/>
                  <a:gd name="T2" fmla="*/ 6 w 35"/>
                  <a:gd name="T3" fmla="*/ 18 h 55"/>
                  <a:gd name="T4" fmla="*/ 0 w 35"/>
                  <a:gd name="T5" fmla="*/ 10 h 55"/>
                  <a:gd name="T6" fmla="*/ 18 w 35"/>
                  <a:gd name="T7" fmla="*/ 0 h 55"/>
                  <a:gd name="T8" fmla="*/ 28 w 35"/>
                  <a:gd name="T9" fmla="*/ 0 h 55"/>
                  <a:gd name="T10" fmla="*/ 28 w 35"/>
                  <a:gd name="T11" fmla="*/ 44 h 55"/>
                  <a:gd name="T12" fmla="*/ 35 w 35"/>
                  <a:gd name="T13" fmla="*/ 46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6 h 55"/>
                  <a:gd name="T20" fmla="*/ 16 w 35"/>
                  <a:gd name="T21" fmla="*/ 44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5" y="46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0" name="Freeform 900">
                <a:extLst>
                  <a:ext uri="{FF2B5EF4-FFF2-40B4-BE49-F238E27FC236}">
                    <a16:creationId xmlns:a16="http://schemas.microsoft.com/office/drawing/2014/main" id="{DC9A5E87-D430-4240-B29F-E0C90E52B6C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10860" y="3284040"/>
                <a:ext cx="32287" cy="49329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1" name="Freeform 901">
                <a:extLst>
                  <a:ext uri="{FF2B5EF4-FFF2-40B4-BE49-F238E27FC236}">
                    <a16:creationId xmlns:a16="http://schemas.microsoft.com/office/drawing/2014/main" id="{ECD026D5-B092-4D71-A441-4BC845CDF50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95166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2" name="Freeform 902">
                <a:extLst>
                  <a:ext uri="{FF2B5EF4-FFF2-40B4-BE49-F238E27FC236}">
                    <a16:creationId xmlns:a16="http://schemas.microsoft.com/office/drawing/2014/main" id="{A5E24C49-8462-4063-B0A7-F15866FC46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83062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3" name="Freeform 903">
                <a:extLst>
                  <a:ext uri="{FF2B5EF4-FFF2-40B4-BE49-F238E27FC236}">
                    <a16:creationId xmlns:a16="http://schemas.microsoft.com/office/drawing/2014/main" id="{65BFC99D-2D6C-46D8-AB05-64CCC78C25C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767368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4" name="Freeform 904">
                <a:extLst>
                  <a:ext uri="{FF2B5EF4-FFF2-40B4-BE49-F238E27FC236}">
                    <a16:creationId xmlns:a16="http://schemas.microsoft.com/office/drawing/2014/main" id="{3EF71960-C4E4-4682-A694-B3DBAAAFF6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55263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5" name="Freeform 905">
                <a:extLst>
                  <a:ext uri="{FF2B5EF4-FFF2-40B4-BE49-F238E27FC236}">
                    <a16:creationId xmlns:a16="http://schemas.microsoft.com/office/drawing/2014/main" id="{4C345D47-81A9-4AC2-B2A0-4DB749416D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43158" y="3284040"/>
                <a:ext cx="30495" cy="49329"/>
              </a:xfrm>
              <a:custGeom>
                <a:avLst/>
                <a:gdLst>
                  <a:gd name="T0" fmla="*/ 16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8 w 34"/>
                  <a:gd name="T9" fmla="*/ 0 h 55"/>
                  <a:gd name="T10" fmla="*/ 28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6 w 34"/>
                  <a:gd name="T21" fmla="*/ 44 h 55"/>
                  <a:gd name="T22" fmla="*/ 16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6" name="Freeform 906">
                <a:extLst>
                  <a:ext uri="{FF2B5EF4-FFF2-40B4-BE49-F238E27FC236}">
                    <a16:creationId xmlns:a16="http://schemas.microsoft.com/office/drawing/2014/main" id="{1055E239-986C-4998-8EA3-11E0A43BD36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028362" y="3282246"/>
                <a:ext cx="37669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7" name="Freeform 907">
                <a:extLst>
                  <a:ext uri="{FF2B5EF4-FFF2-40B4-BE49-F238E27FC236}">
                    <a16:creationId xmlns:a16="http://schemas.microsoft.com/office/drawing/2014/main" id="{81A18F3F-4857-4D8F-8A71-555063325B4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114462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8" name="Freeform 908">
                <a:extLst>
                  <a:ext uri="{FF2B5EF4-FFF2-40B4-BE49-F238E27FC236}">
                    <a16:creationId xmlns:a16="http://schemas.microsoft.com/office/drawing/2014/main" id="{E75F6FDE-1C61-4793-98E7-FD5096C3CA7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200563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49" name="Freeform 909">
                <a:extLst>
                  <a:ext uri="{FF2B5EF4-FFF2-40B4-BE49-F238E27FC236}">
                    <a16:creationId xmlns:a16="http://schemas.microsoft.com/office/drawing/2014/main" id="{E0EB16AE-62CE-4A59-9926-C6BBE4EC5E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8459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0" name="Freeform 910">
                <a:extLst>
                  <a:ext uri="{FF2B5EF4-FFF2-40B4-BE49-F238E27FC236}">
                    <a16:creationId xmlns:a16="http://schemas.microsoft.com/office/drawing/2014/main" id="{E4534ECE-09E3-47AC-84CB-2525E1ABB09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372766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1" name="Freeform 911">
                <a:extLst>
                  <a:ext uri="{FF2B5EF4-FFF2-40B4-BE49-F238E27FC236}">
                    <a16:creationId xmlns:a16="http://schemas.microsoft.com/office/drawing/2014/main" id="{9475A05D-B8BF-41C0-93DF-A2B0EDF0217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60661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2" name="Freeform 912">
                <a:extLst>
                  <a:ext uri="{FF2B5EF4-FFF2-40B4-BE49-F238E27FC236}">
                    <a16:creationId xmlns:a16="http://schemas.microsoft.com/office/drawing/2014/main" id="{9345361A-81CC-43CF-9EE0-62324F71A8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8556" y="3284040"/>
                <a:ext cx="30495" cy="49329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3" name="Freeform 913">
                <a:extLst>
                  <a:ext uri="{FF2B5EF4-FFF2-40B4-BE49-F238E27FC236}">
                    <a16:creationId xmlns:a16="http://schemas.microsoft.com/office/drawing/2014/main" id="{DA1AC363-42F5-46F3-8EE6-A0010178D2F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632863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4" name="Freeform 914">
                <a:extLst>
                  <a:ext uri="{FF2B5EF4-FFF2-40B4-BE49-F238E27FC236}">
                    <a16:creationId xmlns:a16="http://schemas.microsoft.com/office/drawing/2014/main" id="{BBB676C1-8B5F-4BE0-96EB-56625C0237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20759" y="3284040"/>
                <a:ext cx="32287" cy="49329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5" name="Freeform 915">
                <a:extLst>
                  <a:ext uri="{FF2B5EF4-FFF2-40B4-BE49-F238E27FC236}">
                    <a16:creationId xmlns:a16="http://schemas.microsoft.com/office/drawing/2014/main" id="{7BDAB99C-93DB-472D-A18F-40E4F4ED0A4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805962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6" name="Freeform 916">
                <a:extLst>
                  <a:ext uri="{FF2B5EF4-FFF2-40B4-BE49-F238E27FC236}">
                    <a16:creationId xmlns:a16="http://schemas.microsoft.com/office/drawing/2014/main" id="{E693DF71-F2EC-47CC-AB21-D7C687904B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93858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7" name="Freeform 917">
                <a:extLst>
                  <a:ext uri="{FF2B5EF4-FFF2-40B4-BE49-F238E27FC236}">
                    <a16:creationId xmlns:a16="http://schemas.microsoft.com/office/drawing/2014/main" id="{239FACB4-188F-4235-829C-8D85858F2E1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978164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8" name="Freeform 918">
                <a:extLst>
                  <a:ext uri="{FF2B5EF4-FFF2-40B4-BE49-F238E27FC236}">
                    <a16:creationId xmlns:a16="http://schemas.microsoft.com/office/drawing/2014/main" id="{906DCA9A-92E3-4249-94A6-F77674CAAEE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64265" y="3282246"/>
                <a:ext cx="38566" cy="51123"/>
              </a:xfrm>
              <a:custGeom>
                <a:avLst/>
                <a:gdLst>
                  <a:gd name="T0" fmla="*/ 24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4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4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2" y="2"/>
                      <a:pt x="24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7" y="28"/>
                      <a:pt x="18" y="24"/>
                      <a:pt x="18" y="17"/>
                    </a:cubicBezTo>
                    <a:cubicBezTo>
                      <a:pt x="18" y="9"/>
                      <a:pt x="17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59" name="Freeform 919">
                <a:extLst>
                  <a:ext uri="{FF2B5EF4-FFF2-40B4-BE49-F238E27FC236}">
                    <a16:creationId xmlns:a16="http://schemas.microsoft.com/office/drawing/2014/main" id="{41D95506-E856-445D-AEA3-29A03D0A872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152160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60" name="Freeform 920">
                <a:extLst>
                  <a:ext uri="{FF2B5EF4-FFF2-40B4-BE49-F238E27FC236}">
                    <a16:creationId xmlns:a16="http://schemas.microsoft.com/office/drawing/2014/main" id="{DDC21FBB-D22B-488A-B695-C25154D396E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238261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61" name="Freeform 921">
                <a:extLst>
                  <a:ext uri="{FF2B5EF4-FFF2-40B4-BE49-F238E27FC236}">
                    <a16:creationId xmlns:a16="http://schemas.microsoft.com/office/drawing/2014/main" id="{2E621B13-8C3F-4B17-BD23-54CD32536C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6157" y="3284040"/>
                <a:ext cx="32287" cy="49329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62" name="Freeform 922">
                <a:extLst>
                  <a:ext uri="{FF2B5EF4-FFF2-40B4-BE49-F238E27FC236}">
                    <a16:creationId xmlns:a16="http://schemas.microsoft.com/office/drawing/2014/main" id="{A497E523-BFCE-43D7-8822-6BB95940AF1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411361" y="3282246"/>
                <a:ext cx="37669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63" name="Freeform 923">
                <a:extLst>
                  <a:ext uri="{FF2B5EF4-FFF2-40B4-BE49-F238E27FC236}">
                    <a16:creationId xmlns:a16="http://schemas.microsoft.com/office/drawing/2014/main" id="{8A58B816-7C4A-4EAE-A180-85547C2B993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497461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64" name="Freeform 924">
                <a:extLst>
                  <a:ext uri="{FF2B5EF4-FFF2-40B4-BE49-F238E27FC236}">
                    <a16:creationId xmlns:a16="http://schemas.microsoft.com/office/drawing/2014/main" id="{DB4EB200-BBD8-49BD-A481-4E6A59032B5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85357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6 w 36"/>
                  <a:gd name="T3" fmla="*/ 18 h 55"/>
                  <a:gd name="T4" fmla="*/ 0 w 36"/>
                  <a:gd name="T5" fmla="*/ 10 h 55"/>
                  <a:gd name="T6" fmla="*/ 18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</p:grpSp>
        <p:grpSp>
          <p:nvGrpSpPr>
            <p:cNvPr id="287" name="Group 141">
              <a:extLst>
                <a:ext uri="{FF2B5EF4-FFF2-40B4-BE49-F238E27FC236}">
                  <a16:creationId xmlns:a16="http://schemas.microsoft.com/office/drawing/2014/main" id="{F2AB71DC-A8C3-4A71-8275-7E75B7156C3A}"/>
                </a:ext>
              </a:extLst>
            </p:cNvPr>
            <p:cNvGrpSpPr/>
            <p:nvPr/>
          </p:nvGrpSpPr>
          <p:grpSpPr bwMode="gray">
            <a:xfrm>
              <a:off x="-275067" y="5529062"/>
              <a:ext cx="4293280" cy="67883"/>
              <a:chOff x="4384369" y="3282246"/>
              <a:chExt cx="3233275" cy="51123"/>
            </a:xfrm>
            <a:solidFill>
              <a:srgbClr val="0F8287"/>
            </a:solidFill>
          </p:grpSpPr>
          <p:sp>
            <p:nvSpPr>
              <p:cNvPr id="288" name="Freeform 887">
                <a:extLst>
                  <a:ext uri="{FF2B5EF4-FFF2-40B4-BE49-F238E27FC236}">
                    <a16:creationId xmlns:a16="http://schemas.microsoft.com/office/drawing/2014/main" id="{D0BC1BDC-F544-49AB-A0CA-15E8743BB70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84369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89" name="Freeform 888">
                <a:extLst>
                  <a:ext uri="{FF2B5EF4-FFF2-40B4-BE49-F238E27FC236}">
                    <a16:creationId xmlns:a16="http://schemas.microsoft.com/office/drawing/2014/main" id="{07CD647E-92D1-4036-845B-15FE6C5662D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72265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30 w 36"/>
                  <a:gd name="T9" fmla="*/ 0 h 55"/>
                  <a:gd name="T10" fmla="*/ 30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30" y="0"/>
                    </a:lnTo>
                    <a:lnTo>
                      <a:pt x="30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0" name="Freeform 889">
                <a:extLst>
                  <a:ext uri="{FF2B5EF4-FFF2-40B4-BE49-F238E27FC236}">
                    <a16:creationId xmlns:a16="http://schemas.microsoft.com/office/drawing/2014/main" id="{A14BEE6D-BBDB-4087-9F73-566C41F8F7D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57468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1" name="Freeform 890">
                <a:extLst>
                  <a:ext uri="{FF2B5EF4-FFF2-40B4-BE49-F238E27FC236}">
                    <a16:creationId xmlns:a16="http://schemas.microsoft.com/office/drawing/2014/main" id="{57B41B9F-CF40-44C9-85AC-48A402EC090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5364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2" name="Freeform 891">
                <a:extLst>
                  <a:ext uri="{FF2B5EF4-FFF2-40B4-BE49-F238E27FC236}">
                    <a16:creationId xmlns:a16="http://schemas.microsoft.com/office/drawing/2014/main" id="{6540BC0D-2B19-4C05-843C-B4502760B9A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731464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3" name="Freeform 892">
                <a:extLst>
                  <a:ext uri="{FF2B5EF4-FFF2-40B4-BE49-F238E27FC236}">
                    <a16:creationId xmlns:a16="http://schemas.microsoft.com/office/drawing/2014/main" id="{3B0E309C-565B-4BCD-935F-CE1821ABE7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819360" y="3284040"/>
                <a:ext cx="30495" cy="49329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8 w 34"/>
                  <a:gd name="T17" fmla="*/ 55 h 55"/>
                  <a:gd name="T18" fmla="*/ 8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4" name="Freeform 893">
                <a:extLst>
                  <a:ext uri="{FF2B5EF4-FFF2-40B4-BE49-F238E27FC236}">
                    <a16:creationId xmlns:a16="http://schemas.microsoft.com/office/drawing/2014/main" id="{4CF91BFB-982F-4452-98F0-358DDC1717D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05461" y="3284040"/>
                <a:ext cx="32287" cy="49329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5" name="Freeform 894">
                <a:extLst>
                  <a:ext uri="{FF2B5EF4-FFF2-40B4-BE49-F238E27FC236}">
                    <a16:creationId xmlns:a16="http://schemas.microsoft.com/office/drawing/2014/main" id="{E8BF7311-33F2-4BDA-BCE3-56BCFDE52DE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1562" y="3284040"/>
                <a:ext cx="32287" cy="49329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6" name="Freeform 895">
                <a:extLst>
                  <a:ext uri="{FF2B5EF4-FFF2-40B4-BE49-F238E27FC236}">
                    <a16:creationId xmlns:a16="http://schemas.microsoft.com/office/drawing/2014/main" id="{A68B045F-FD29-4DEC-ADFA-3EB1A8616D7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75869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7" name="Freeform 896">
                <a:extLst>
                  <a:ext uri="{FF2B5EF4-FFF2-40B4-BE49-F238E27FC236}">
                    <a16:creationId xmlns:a16="http://schemas.microsoft.com/office/drawing/2014/main" id="{67F701B7-7981-4A70-B3EA-1A834081E3A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63765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8" name="Freeform 897">
                <a:extLst>
                  <a:ext uri="{FF2B5EF4-FFF2-40B4-BE49-F238E27FC236}">
                    <a16:creationId xmlns:a16="http://schemas.microsoft.com/office/drawing/2014/main" id="{8254FFFB-D40E-4A06-8677-6417C1AC588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48968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299" name="Freeform 898">
                <a:extLst>
                  <a:ext uri="{FF2B5EF4-FFF2-40B4-BE49-F238E27FC236}">
                    <a16:creationId xmlns:a16="http://schemas.microsoft.com/office/drawing/2014/main" id="{7AB64E2C-B4FA-457A-B33F-AFFD83270FB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336863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1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3" y="31"/>
                      <a:pt x="1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8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0" name="Freeform 899">
                <a:extLst>
                  <a:ext uri="{FF2B5EF4-FFF2-40B4-BE49-F238E27FC236}">
                    <a16:creationId xmlns:a16="http://schemas.microsoft.com/office/drawing/2014/main" id="{960EB075-0BF7-41B2-8138-9421039E10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23862" y="3284040"/>
                <a:ext cx="31391" cy="49329"/>
              </a:xfrm>
              <a:custGeom>
                <a:avLst/>
                <a:gdLst>
                  <a:gd name="T0" fmla="*/ 16 w 35"/>
                  <a:gd name="T1" fmla="*/ 12 h 55"/>
                  <a:gd name="T2" fmla="*/ 6 w 35"/>
                  <a:gd name="T3" fmla="*/ 18 h 55"/>
                  <a:gd name="T4" fmla="*/ 0 w 35"/>
                  <a:gd name="T5" fmla="*/ 10 h 55"/>
                  <a:gd name="T6" fmla="*/ 18 w 35"/>
                  <a:gd name="T7" fmla="*/ 0 h 55"/>
                  <a:gd name="T8" fmla="*/ 28 w 35"/>
                  <a:gd name="T9" fmla="*/ 0 h 55"/>
                  <a:gd name="T10" fmla="*/ 28 w 35"/>
                  <a:gd name="T11" fmla="*/ 44 h 55"/>
                  <a:gd name="T12" fmla="*/ 35 w 35"/>
                  <a:gd name="T13" fmla="*/ 46 h 55"/>
                  <a:gd name="T14" fmla="*/ 35 w 35"/>
                  <a:gd name="T15" fmla="*/ 55 h 55"/>
                  <a:gd name="T16" fmla="*/ 9 w 35"/>
                  <a:gd name="T17" fmla="*/ 55 h 55"/>
                  <a:gd name="T18" fmla="*/ 9 w 35"/>
                  <a:gd name="T19" fmla="*/ 46 h 55"/>
                  <a:gd name="T20" fmla="*/ 16 w 35"/>
                  <a:gd name="T21" fmla="*/ 44 h 55"/>
                  <a:gd name="T22" fmla="*/ 16 w 35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" h="55">
                    <a:moveTo>
                      <a:pt x="16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5" y="46"/>
                    </a:lnTo>
                    <a:lnTo>
                      <a:pt x="35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1" name="Freeform 900">
                <a:extLst>
                  <a:ext uri="{FF2B5EF4-FFF2-40B4-BE49-F238E27FC236}">
                    <a16:creationId xmlns:a16="http://schemas.microsoft.com/office/drawing/2014/main" id="{0D1EFD16-AA45-42C3-B0D8-BE7FB30B913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10860" y="3284040"/>
                <a:ext cx="32287" cy="49329"/>
              </a:xfrm>
              <a:custGeom>
                <a:avLst/>
                <a:gdLst>
                  <a:gd name="T0" fmla="*/ 15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7 w 36"/>
                  <a:gd name="T9" fmla="*/ 0 h 55"/>
                  <a:gd name="T10" fmla="*/ 27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5 w 36"/>
                  <a:gd name="T21" fmla="*/ 44 h 55"/>
                  <a:gd name="T22" fmla="*/ 15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2" name="Freeform 901">
                <a:extLst>
                  <a:ext uri="{FF2B5EF4-FFF2-40B4-BE49-F238E27FC236}">
                    <a16:creationId xmlns:a16="http://schemas.microsoft.com/office/drawing/2014/main" id="{A4900C20-D38F-4280-B85D-1A41C574D7B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95166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3" name="Freeform 902">
                <a:extLst>
                  <a:ext uri="{FF2B5EF4-FFF2-40B4-BE49-F238E27FC236}">
                    <a16:creationId xmlns:a16="http://schemas.microsoft.com/office/drawing/2014/main" id="{47329A68-AEC9-41C0-AD90-D2CAA6D68F5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83062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4" name="Freeform 903">
                <a:extLst>
                  <a:ext uri="{FF2B5EF4-FFF2-40B4-BE49-F238E27FC236}">
                    <a16:creationId xmlns:a16="http://schemas.microsoft.com/office/drawing/2014/main" id="{D673B215-9A74-431F-B0EF-EF92533324B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767368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5" name="Freeform 904">
                <a:extLst>
                  <a:ext uri="{FF2B5EF4-FFF2-40B4-BE49-F238E27FC236}">
                    <a16:creationId xmlns:a16="http://schemas.microsoft.com/office/drawing/2014/main" id="{7370063C-3C09-4531-AE78-C3D6AA7701E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855263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1 w 36"/>
                  <a:gd name="T17" fmla="*/ 55 h 55"/>
                  <a:gd name="T18" fmla="*/ 11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1" y="55"/>
                    </a:lnTo>
                    <a:lnTo>
                      <a:pt x="11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6" name="Freeform 905">
                <a:extLst>
                  <a:ext uri="{FF2B5EF4-FFF2-40B4-BE49-F238E27FC236}">
                    <a16:creationId xmlns:a16="http://schemas.microsoft.com/office/drawing/2014/main" id="{8923896C-3F89-42F3-B240-761224DFE57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43158" y="3284040"/>
                <a:ext cx="30495" cy="49329"/>
              </a:xfrm>
              <a:custGeom>
                <a:avLst/>
                <a:gdLst>
                  <a:gd name="T0" fmla="*/ 16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8 w 34"/>
                  <a:gd name="T9" fmla="*/ 0 h 55"/>
                  <a:gd name="T10" fmla="*/ 28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6 w 34"/>
                  <a:gd name="T21" fmla="*/ 44 h 55"/>
                  <a:gd name="T22" fmla="*/ 16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7" name="Freeform 906">
                <a:extLst>
                  <a:ext uri="{FF2B5EF4-FFF2-40B4-BE49-F238E27FC236}">
                    <a16:creationId xmlns:a16="http://schemas.microsoft.com/office/drawing/2014/main" id="{B566A725-DD22-48CC-9907-68CA931CC49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028362" y="3282246"/>
                <a:ext cx="37669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8" name="Freeform 907">
                <a:extLst>
                  <a:ext uri="{FF2B5EF4-FFF2-40B4-BE49-F238E27FC236}">
                    <a16:creationId xmlns:a16="http://schemas.microsoft.com/office/drawing/2014/main" id="{73408984-B573-4178-929C-FDDDF4CCCFB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114462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09" name="Freeform 908">
                <a:extLst>
                  <a:ext uri="{FF2B5EF4-FFF2-40B4-BE49-F238E27FC236}">
                    <a16:creationId xmlns:a16="http://schemas.microsoft.com/office/drawing/2014/main" id="{E65886D1-4FD9-4F79-8E68-EED1631F455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200563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0" name="Freeform 909">
                <a:extLst>
                  <a:ext uri="{FF2B5EF4-FFF2-40B4-BE49-F238E27FC236}">
                    <a16:creationId xmlns:a16="http://schemas.microsoft.com/office/drawing/2014/main" id="{FA1E559B-73D9-4C58-8E9C-F14CFD206FA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288459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8 w 36"/>
                  <a:gd name="T17" fmla="*/ 55 h 55"/>
                  <a:gd name="T18" fmla="*/ 8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8" y="55"/>
                    </a:lnTo>
                    <a:lnTo>
                      <a:pt x="8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1" name="Freeform 910">
                <a:extLst>
                  <a:ext uri="{FF2B5EF4-FFF2-40B4-BE49-F238E27FC236}">
                    <a16:creationId xmlns:a16="http://schemas.microsoft.com/office/drawing/2014/main" id="{088705AD-08CB-4499-9307-425338DD4D3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372766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2" name="Freeform 911">
                <a:extLst>
                  <a:ext uri="{FF2B5EF4-FFF2-40B4-BE49-F238E27FC236}">
                    <a16:creationId xmlns:a16="http://schemas.microsoft.com/office/drawing/2014/main" id="{DEE2D2C8-86F4-486D-A040-04E80070AA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460661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7 w 36"/>
                  <a:gd name="T3" fmla="*/ 18 h 55"/>
                  <a:gd name="T4" fmla="*/ 0 w 36"/>
                  <a:gd name="T5" fmla="*/ 10 h 55"/>
                  <a:gd name="T6" fmla="*/ 19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7" y="18"/>
                    </a:lnTo>
                    <a:lnTo>
                      <a:pt x="0" y="1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3" name="Freeform 912">
                <a:extLst>
                  <a:ext uri="{FF2B5EF4-FFF2-40B4-BE49-F238E27FC236}">
                    <a16:creationId xmlns:a16="http://schemas.microsoft.com/office/drawing/2014/main" id="{6BFD7C79-7076-4301-A673-BE1B7266D3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48556" y="3284040"/>
                <a:ext cx="30495" cy="49329"/>
              </a:xfrm>
              <a:custGeom>
                <a:avLst/>
                <a:gdLst>
                  <a:gd name="T0" fmla="*/ 15 w 34"/>
                  <a:gd name="T1" fmla="*/ 12 h 55"/>
                  <a:gd name="T2" fmla="*/ 5 w 34"/>
                  <a:gd name="T3" fmla="*/ 18 h 55"/>
                  <a:gd name="T4" fmla="*/ 0 w 34"/>
                  <a:gd name="T5" fmla="*/ 10 h 55"/>
                  <a:gd name="T6" fmla="*/ 17 w 34"/>
                  <a:gd name="T7" fmla="*/ 0 h 55"/>
                  <a:gd name="T8" fmla="*/ 27 w 34"/>
                  <a:gd name="T9" fmla="*/ 0 h 55"/>
                  <a:gd name="T10" fmla="*/ 27 w 34"/>
                  <a:gd name="T11" fmla="*/ 44 h 55"/>
                  <a:gd name="T12" fmla="*/ 34 w 34"/>
                  <a:gd name="T13" fmla="*/ 46 h 55"/>
                  <a:gd name="T14" fmla="*/ 34 w 34"/>
                  <a:gd name="T15" fmla="*/ 55 h 55"/>
                  <a:gd name="T16" fmla="*/ 9 w 34"/>
                  <a:gd name="T17" fmla="*/ 55 h 55"/>
                  <a:gd name="T18" fmla="*/ 9 w 34"/>
                  <a:gd name="T19" fmla="*/ 46 h 55"/>
                  <a:gd name="T20" fmla="*/ 15 w 34"/>
                  <a:gd name="T21" fmla="*/ 44 h 55"/>
                  <a:gd name="T22" fmla="*/ 15 w 34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55">
                    <a:moveTo>
                      <a:pt x="15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7" y="0"/>
                    </a:lnTo>
                    <a:lnTo>
                      <a:pt x="27" y="44"/>
                    </a:lnTo>
                    <a:lnTo>
                      <a:pt x="34" y="46"/>
                    </a:lnTo>
                    <a:lnTo>
                      <a:pt x="34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5" y="4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4" name="Freeform 913">
                <a:extLst>
                  <a:ext uri="{FF2B5EF4-FFF2-40B4-BE49-F238E27FC236}">
                    <a16:creationId xmlns:a16="http://schemas.microsoft.com/office/drawing/2014/main" id="{A44AACE7-4507-4C83-BB54-D9039D7829B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632863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5" name="Freeform 914">
                <a:extLst>
                  <a:ext uri="{FF2B5EF4-FFF2-40B4-BE49-F238E27FC236}">
                    <a16:creationId xmlns:a16="http://schemas.microsoft.com/office/drawing/2014/main" id="{785E5A8A-2AD0-41F3-A852-CFDD29FA25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20759" y="3284040"/>
                <a:ext cx="32287" cy="49329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6" name="Freeform 915">
                <a:extLst>
                  <a:ext uri="{FF2B5EF4-FFF2-40B4-BE49-F238E27FC236}">
                    <a16:creationId xmlns:a16="http://schemas.microsoft.com/office/drawing/2014/main" id="{20C088AC-FA17-47E2-B44B-F02348CAED0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805962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7" name="Freeform 916">
                <a:extLst>
                  <a:ext uri="{FF2B5EF4-FFF2-40B4-BE49-F238E27FC236}">
                    <a16:creationId xmlns:a16="http://schemas.microsoft.com/office/drawing/2014/main" id="{DE7604B1-20AD-489C-8911-2789A06B63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93858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8" name="Freeform 917">
                <a:extLst>
                  <a:ext uri="{FF2B5EF4-FFF2-40B4-BE49-F238E27FC236}">
                    <a16:creationId xmlns:a16="http://schemas.microsoft.com/office/drawing/2014/main" id="{EA3AA70C-0CCE-4E90-9AE4-E8822493422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978164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3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19" name="Freeform 918">
                <a:extLst>
                  <a:ext uri="{FF2B5EF4-FFF2-40B4-BE49-F238E27FC236}">
                    <a16:creationId xmlns:a16="http://schemas.microsoft.com/office/drawing/2014/main" id="{34F0C43E-4994-4915-9070-B125D93D261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64265" y="3282246"/>
                <a:ext cx="38566" cy="51123"/>
              </a:xfrm>
              <a:custGeom>
                <a:avLst/>
                <a:gdLst>
                  <a:gd name="T0" fmla="*/ 24 w 25"/>
                  <a:gd name="T1" fmla="*/ 6 h 33"/>
                  <a:gd name="T2" fmla="*/ 25 w 25"/>
                  <a:gd name="T3" fmla="*/ 17 h 33"/>
                  <a:gd name="T4" fmla="*/ 23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4 w 25"/>
                  <a:gd name="T15" fmla="*/ 6 h 33"/>
                  <a:gd name="T16" fmla="*/ 8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8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4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5" y="26"/>
                      <a:pt x="23" y="29"/>
                    </a:cubicBezTo>
                    <a:cubicBezTo>
                      <a:pt x="21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5" y="0"/>
                      <a:pt x="13" y="0"/>
                    </a:cubicBezTo>
                    <a:cubicBezTo>
                      <a:pt x="18" y="0"/>
                      <a:pt x="22" y="2"/>
                      <a:pt x="24" y="6"/>
                    </a:cubicBezTo>
                    <a:close/>
                    <a:moveTo>
                      <a:pt x="8" y="16"/>
                    </a:moveTo>
                    <a:cubicBezTo>
                      <a:pt x="8" y="24"/>
                      <a:pt x="9" y="28"/>
                      <a:pt x="13" y="28"/>
                    </a:cubicBezTo>
                    <a:cubicBezTo>
                      <a:pt x="17" y="28"/>
                      <a:pt x="18" y="24"/>
                      <a:pt x="18" y="17"/>
                    </a:cubicBezTo>
                    <a:cubicBezTo>
                      <a:pt x="18" y="9"/>
                      <a:pt x="17" y="6"/>
                      <a:pt x="13" y="6"/>
                    </a:cubicBezTo>
                    <a:cubicBezTo>
                      <a:pt x="9" y="6"/>
                      <a:pt x="8" y="9"/>
                      <a:pt x="8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20" name="Freeform 919">
                <a:extLst>
                  <a:ext uri="{FF2B5EF4-FFF2-40B4-BE49-F238E27FC236}">
                    <a16:creationId xmlns:a16="http://schemas.microsoft.com/office/drawing/2014/main" id="{05ED1D24-E1D3-4E20-A89C-8F625DD91EE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152160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7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6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8" y="28"/>
                      <a:pt x="12" y="28"/>
                    </a:cubicBezTo>
                    <a:cubicBezTo>
                      <a:pt x="16" y="28"/>
                      <a:pt x="17" y="24"/>
                      <a:pt x="17" y="17"/>
                    </a:cubicBezTo>
                    <a:cubicBezTo>
                      <a:pt x="17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21" name="Freeform 920">
                <a:extLst>
                  <a:ext uri="{FF2B5EF4-FFF2-40B4-BE49-F238E27FC236}">
                    <a16:creationId xmlns:a16="http://schemas.microsoft.com/office/drawing/2014/main" id="{0AADBB8A-DFC7-4896-8DAD-9DA3F9D3F36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238261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2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2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2 w 25"/>
                  <a:gd name="T19" fmla="*/ 28 h 33"/>
                  <a:gd name="T20" fmla="*/ 18 w 25"/>
                  <a:gd name="T21" fmla="*/ 17 h 33"/>
                  <a:gd name="T22" fmla="*/ 12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2" y="33"/>
                    </a:cubicBezTo>
                    <a:cubicBezTo>
                      <a:pt x="7" y="33"/>
                      <a:pt x="4" y="31"/>
                      <a:pt x="2" y="27"/>
                    </a:cubicBezTo>
                    <a:cubicBezTo>
                      <a:pt x="0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2" y="0"/>
                    </a:cubicBezTo>
                    <a:cubicBezTo>
                      <a:pt x="17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2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2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22" name="Freeform 921">
                <a:extLst>
                  <a:ext uri="{FF2B5EF4-FFF2-40B4-BE49-F238E27FC236}">
                    <a16:creationId xmlns:a16="http://schemas.microsoft.com/office/drawing/2014/main" id="{E24E65F6-DDA2-4CE6-A338-CB994DED59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326157" y="3284040"/>
                <a:ext cx="32287" cy="49329"/>
              </a:xfrm>
              <a:custGeom>
                <a:avLst/>
                <a:gdLst>
                  <a:gd name="T0" fmla="*/ 16 w 36"/>
                  <a:gd name="T1" fmla="*/ 12 h 55"/>
                  <a:gd name="T2" fmla="*/ 5 w 36"/>
                  <a:gd name="T3" fmla="*/ 18 h 55"/>
                  <a:gd name="T4" fmla="*/ 0 w 36"/>
                  <a:gd name="T5" fmla="*/ 10 h 55"/>
                  <a:gd name="T6" fmla="*/ 17 w 36"/>
                  <a:gd name="T7" fmla="*/ 0 h 55"/>
                  <a:gd name="T8" fmla="*/ 28 w 36"/>
                  <a:gd name="T9" fmla="*/ 0 h 55"/>
                  <a:gd name="T10" fmla="*/ 28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9 w 36"/>
                  <a:gd name="T17" fmla="*/ 55 h 55"/>
                  <a:gd name="T18" fmla="*/ 9 w 36"/>
                  <a:gd name="T19" fmla="*/ 46 h 55"/>
                  <a:gd name="T20" fmla="*/ 16 w 36"/>
                  <a:gd name="T21" fmla="*/ 44 h 55"/>
                  <a:gd name="T22" fmla="*/ 16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6" y="12"/>
                    </a:moveTo>
                    <a:lnTo>
                      <a:pt x="5" y="18"/>
                    </a:lnTo>
                    <a:lnTo>
                      <a:pt x="0" y="10"/>
                    </a:lnTo>
                    <a:lnTo>
                      <a:pt x="17" y="0"/>
                    </a:lnTo>
                    <a:lnTo>
                      <a:pt x="28" y="0"/>
                    </a:lnTo>
                    <a:lnTo>
                      <a:pt x="28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9" y="55"/>
                    </a:lnTo>
                    <a:lnTo>
                      <a:pt x="9" y="46"/>
                    </a:lnTo>
                    <a:lnTo>
                      <a:pt x="16" y="44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23" name="Freeform 922">
                <a:extLst>
                  <a:ext uri="{FF2B5EF4-FFF2-40B4-BE49-F238E27FC236}">
                    <a16:creationId xmlns:a16="http://schemas.microsoft.com/office/drawing/2014/main" id="{78CF79AE-796F-4D73-A4DF-79713DE992F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411361" y="3282246"/>
                <a:ext cx="37669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4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24" name="Freeform 923">
                <a:extLst>
                  <a:ext uri="{FF2B5EF4-FFF2-40B4-BE49-F238E27FC236}">
                    <a16:creationId xmlns:a16="http://schemas.microsoft.com/office/drawing/2014/main" id="{5CEB0FE1-4BD7-464A-8616-FD799B0E047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497461" y="3282246"/>
                <a:ext cx="38566" cy="51123"/>
              </a:xfrm>
              <a:custGeom>
                <a:avLst/>
                <a:gdLst>
                  <a:gd name="T0" fmla="*/ 23 w 25"/>
                  <a:gd name="T1" fmla="*/ 6 h 33"/>
                  <a:gd name="T2" fmla="*/ 25 w 25"/>
                  <a:gd name="T3" fmla="*/ 17 h 33"/>
                  <a:gd name="T4" fmla="*/ 22 w 25"/>
                  <a:gd name="T5" fmla="*/ 29 h 33"/>
                  <a:gd name="T6" fmla="*/ 13 w 25"/>
                  <a:gd name="T7" fmla="*/ 33 h 33"/>
                  <a:gd name="T8" fmla="*/ 2 w 25"/>
                  <a:gd name="T9" fmla="*/ 27 h 33"/>
                  <a:gd name="T10" fmla="*/ 0 w 25"/>
                  <a:gd name="T11" fmla="*/ 16 h 33"/>
                  <a:gd name="T12" fmla="*/ 13 w 25"/>
                  <a:gd name="T13" fmla="*/ 0 h 33"/>
                  <a:gd name="T14" fmla="*/ 23 w 25"/>
                  <a:gd name="T15" fmla="*/ 6 h 33"/>
                  <a:gd name="T16" fmla="*/ 7 w 25"/>
                  <a:gd name="T17" fmla="*/ 16 h 33"/>
                  <a:gd name="T18" fmla="*/ 13 w 25"/>
                  <a:gd name="T19" fmla="*/ 28 h 33"/>
                  <a:gd name="T20" fmla="*/ 18 w 25"/>
                  <a:gd name="T21" fmla="*/ 17 h 33"/>
                  <a:gd name="T22" fmla="*/ 13 w 25"/>
                  <a:gd name="T23" fmla="*/ 6 h 33"/>
                  <a:gd name="T24" fmla="*/ 7 w 25"/>
                  <a:gd name="T25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33">
                    <a:moveTo>
                      <a:pt x="23" y="6"/>
                    </a:moveTo>
                    <a:cubicBezTo>
                      <a:pt x="25" y="8"/>
                      <a:pt x="25" y="12"/>
                      <a:pt x="25" y="17"/>
                    </a:cubicBezTo>
                    <a:cubicBezTo>
                      <a:pt x="25" y="22"/>
                      <a:pt x="24" y="26"/>
                      <a:pt x="22" y="29"/>
                    </a:cubicBezTo>
                    <a:cubicBezTo>
                      <a:pt x="20" y="32"/>
                      <a:pt x="17" y="33"/>
                      <a:pt x="13" y="33"/>
                    </a:cubicBezTo>
                    <a:cubicBezTo>
                      <a:pt x="8" y="33"/>
                      <a:pt x="4" y="31"/>
                      <a:pt x="2" y="27"/>
                    </a:cubicBezTo>
                    <a:cubicBezTo>
                      <a:pt x="1" y="25"/>
                      <a:pt x="0" y="21"/>
                      <a:pt x="0" y="16"/>
                    </a:cubicBezTo>
                    <a:cubicBezTo>
                      <a:pt x="0" y="5"/>
                      <a:pt x="4" y="0"/>
                      <a:pt x="13" y="0"/>
                    </a:cubicBezTo>
                    <a:cubicBezTo>
                      <a:pt x="18" y="0"/>
                      <a:pt x="21" y="2"/>
                      <a:pt x="23" y="6"/>
                    </a:cubicBezTo>
                    <a:close/>
                    <a:moveTo>
                      <a:pt x="7" y="16"/>
                    </a:moveTo>
                    <a:cubicBezTo>
                      <a:pt x="7" y="24"/>
                      <a:pt x="9" y="28"/>
                      <a:pt x="13" y="28"/>
                    </a:cubicBezTo>
                    <a:cubicBezTo>
                      <a:pt x="16" y="28"/>
                      <a:pt x="18" y="24"/>
                      <a:pt x="18" y="17"/>
                    </a:cubicBezTo>
                    <a:cubicBezTo>
                      <a:pt x="18" y="9"/>
                      <a:pt x="16" y="6"/>
                      <a:pt x="13" y="6"/>
                    </a:cubicBezTo>
                    <a:cubicBezTo>
                      <a:pt x="9" y="6"/>
                      <a:pt x="7" y="9"/>
                      <a:pt x="7" y="16"/>
                    </a:cubicBez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  <p:sp>
            <p:nvSpPr>
              <p:cNvPr id="325" name="Freeform 924">
                <a:extLst>
                  <a:ext uri="{FF2B5EF4-FFF2-40B4-BE49-F238E27FC236}">
                    <a16:creationId xmlns:a16="http://schemas.microsoft.com/office/drawing/2014/main" id="{09F3F502-CD94-4168-B813-D4E4CBA62C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585357" y="3284040"/>
                <a:ext cx="32287" cy="49329"/>
              </a:xfrm>
              <a:custGeom>
                <a:avLst/>
                <a:gdLst>
                  <a:gd name="T0" fmla="*/ 17 w 36"/>
                  <a:gd name="T1" fmla="*/ 12 h 55"/>
                  <a:gd name="T2" fmla="*/ 6 w 36"/>
                  <a:gd name="T3" fmla="*/ 18 h 55"/>
                  <a:gd name="T4" fmla="*/ 0 w 36"/>
                  <a:gd name="T5" fmla="*/ 10 h 55"/>
                  <a:gd name="T6" fmla="*/ 18 w 36"/>
                  <a:gd name="T7" fmla="*/ 0 h 55"/>
                  <a:gd name="T8" fmla="*/ 29 w 36"/>
                  <a:gd name="T9" fmla="*/ 0 h 55"/>
                  <a:gd name="T10" fmla="*/ 29 w 36"/>
                  <a:gd name="T11" fmla="*/ 44 h 55"/>
                  <a:gd name="T12" fmla="*/ 36 w 36"/>
                  <a:gd name="T13" fmla="*/ 46 h 55"/>
                  <a:gd name="T14" fmla="*/ 36 w 36"/>
                  <a:gd name="T15" fmla="*/ 55 h 55"/>
                  <a:gd name="T16" fmla="*/ 10 w 36"/>
                  <a:gd name="T17" fmla="*/ 55 h 55"/>
                  <a:gd name="T18" fmla="*/ 10 w 36"/>
                  <a:gd name="T19" fmla="*/ 46 h 55"/>
                  <a:gd name="T20" fmla="*/ 17 w 36"/>
                  <a:gd name="T21" fmla="*/ 44 h 55"/>
                  <a:gd name="T22" fmla="*/ 17 w 36"/>
                  <a:gd name="T23" fmla="*/ 12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55">
                    <a:moveTo>
                      <a:pt x="17" y="12"/>
                    </a:moveTo>
                    <a:lnTo>
                      <a:pt x="6" y="18"/>
                    </a:lnTo>
                    <a:lnTo>
                      <a:pt x="0" y="10"/>
                    </a:lnTo>
                    <a:lnTo>
                      <a:pt x="18" y="0"/>
                    </a:lnTo>
                    <a:lnTo>
                      <a:pt x="29" y="0"/>
                    </a:lnTo>
                    <a:lnTo>
                      <a:pt x="29" y="44"/>
                    </a:lnTo>
                    <a:lnTo>
                      <a:pt x="36" y="46"/>
                    </a:lnTo>
                    <a:lnTo>
                      <a:pt x="36" y="55"/>
                    </a:lnTo>
                    <a:lnTo>
                      <a:pt x="10" y="55"/>
                    </a:lnTo>
                    <a:lnTo>
                      <a:pt x="10" y="46"/>
                    </a:lnTo>
                    <a:lnTo>
                      <a:pt x="17" y="44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9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399" kern="1400" dirty="0">
                  <a:solidFill>
                    <a:srgbClr val="000000"/>
                  </a:solidFill>
                  <a:latin typeface="Arial" charset="0"/>
                  <a:ea typeface="Arial Unicode MS"/>
                </a:endParaRPr>
              </a:p>
            </p:txBody>
          </p:sp>
        </p:grpSp>
      </p:grpSp>
      <p:sp>
        <p:nvSpPr>
          <p:cNvPr id="365" name="Rechteck 150">
            <a:extLst>
              <a:ext uri="{FF2B5EF4-FFF2-40B4-BE49-F238E27FC236}">
                <a16:creationId xmlns:a16="http://schemas.microsoft.com/office/drawing/2014/main" id="{AFCEFB8C-572F-4F5C-AC7A-C7884BDBC874}"/>
              </a:ext>
            </a:extLst>
          </p:cNvPr>
          <p:cNvSpPr>
            <a:spLocks/>
          </p:cNvSpPr>
          <p:nvPr/>
        </p:nvSpPr>
        <p:spPr bwMode="gray">
          <a:xfrm>
            <a:off x="8832975" y="3146613"/>
            <a:ext cx="2878226" cy="584471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ru-RU" sz="1999" b="1" dirty="0">
                <a:solidFill>
                  <a:srgbClr val="FFFFFF"/>
                </a:solidFill>
              </a:rPr>
              <a:t>Обеспечить 100 % техническую готовность </a:t>
            </a:r>
            <a:endParaRPr lang="en-US" sz="1999" b="1" dirty="0">
              <a:solidFill>
                <a:srgbClr val="FFFFFF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B1433B4-1937-473A-AC39-2B77E7CDA0D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8718" y="3087134"/>
            <a:ext cx="4450668" cy="1957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90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ниторинг состояния верхнего строения пути (ВСП) на </a:t>
            </a:r>
            <a:br>
              <a:rPr lang="ru-RU" dirty="0"/>
            </a:br>
            <a:r>
              <a:rPr lang="ru-RU" dirty="0"/>
              <a:t>беспроводной элементной базе  </a:t>
            </a:r>
            <a:endParaRPr lang="en-US" b="0" dirty="0"/>
          </a:p>
        </p:txBody>
      </p:sp>
      <p:sp>
        <p:nvSpPr>
          <p:cNvPr id="3" name="Textfeld 51">
            <a:extLst>
              <a:ext uri="{FF2B5EF4-FFF2-40B4-BE49-F238E27FC236}">
                <a16:creationId xmlns:a16="http://schemas.microsoft.com/office/drawing/2014/main" id="{0AF1EA2A-BF61-44C7-A009-368251C94190}"/>
              </a:ext>
            </a:extLst>
          </p:cNvPr>
          <p:cNvSpPr txBox="1"/>
          <p:nvPr/>
        </p:nvSpPr>
        <p:spPr bwMode="gray">
          <a:xfrm>
            <a:off x="8039161" y="441400"/>
            <a:ext cx="3781714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tabLst>
                <a:tab pos="0" algn="l"/>
              </a:tabLst>
            </a:pPr>
            <a:r>
              <a:rPr lang="ru-RU" sz="1400" b="1" dirty="0">
                <a:solidFill>
                  <a:schemeClr val="accent5">
                    <a:lumMod val="40000"/>
                    <a:lumOff val="60000"/>
                  </a:schemeClr>
                </a:solidFill>
                <a:ea typeface="Arial Unicode MS"/>
              </a:rPr>
              <a:t>Отображение обнаруженных неисправностей 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DC43A9B2-4A69-4944-A65C-50C712EF0C2A}"/>
              </a:ext>
            </a:extLst>
          </p:cNvPr>
          <p:cNvGrpSpPr/>
          <p:nvPr/>
        </p:nvGrpSpPr>
        <p:grpSpPr>
          <a:xfrm>
            <a:off x="7928543" y="3976953"/>
            <a:ext cx="3975037" cy="2541749"/>
            <a:chOff x="1135624" y="4286250"/>
            <a:chExt cx="3968462" cy="2323883"/>
          </a:xfrm>
        </p:grpSpPr>
        <p:pic>
          <p:nvPicPr>
            <p:cNvPr id="5" name="Grafik 26">
              <a:extLst>
                <a:ext uri="{FF2B5EF4-FFF2-40B4-BE49-F238E27FC236}">
                  <a16:creationId xmlns:a16="http://schemas.microsoft.com/office/drawing/2014/main" id="{0C1E34C2-C467-49BB-83E4-9141CF55A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5624" y="4286250"/>
              <a:ext cx="3968462" cy="2323883"/>
            </a:xfrm>
            <a:prstGeom prst="rect">
              <a:avLst/>
            </a:prstGeom>
          </p:spPr>
        </p:pic>
        <p:pic>
          <p:nvPicPr>
            <p:cNvPr id="6" name="Picture 9" descr="COVID-19 Great Looking Dashboard! It looks way better than the MOH ...">
              <a:extLst>
                <a:ext uri="{FF2B5EF4-FFF2-40B4-BE49-F238E27FC236}">
                  <a16:creationId xmlns:a16="http://schemas.microsoft.com/office/drawing/2014/main" id="{8229AAFA-2C6E-45D7-8F15-3974B186FB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3430" y="4419600"/>
              <a:ext cx="1876425" cy="1904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11" descr="Maurice Lee on Twitter: &quot;If anyone is interested, because the ...">
              <a:extLst>
                <a:ext uri="{FF2B5EF4-FFF2-40B4-BE49-F238E27FC236}">
                  <a16:creationId xmlns:a16="http://schemas.microsoft.com/office/drawing/2014/main" id="{331F4A0D-E49C-48EF-A75F-BEAAB9DA8D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9856" y="4419600"/>
              <a:ext cx="1880770" cy="1904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AA35EAE9-FCBD-45A5-B761-C53F4E2F80F6}"/>
              </a:ext>
            </a:extLst>
          </p:cNvPr>
          <p:cNvGrpSpPr/>
          <p:nvPr/>
        </p:nvGrpSpPr>
        <p:grpSpPr>
          <a:xfrm>
            <a:off x="7928543" y="905703"/>
            <a:ext cx="3975037" cy="2541749"/>
            <a:chOff x="1135624" y="4286250"/>
            <a:chExt cx="3968462" cy="2323883"/>
          </a:xfrm>
        </p:grpSpPr>
        <p:pic>
          <p:nvPicPr>
            <p:cNvPr id="9" name="Grafik 26">
              <a:extLst>
                <a:ext uri="{FF2B5EF4-FFF2-40B4-BE49-F238E27FC236}">
                  <a16:creationId xmlns:a16="http://schemas.microsoft.com/office/drawing/2014/main" id="{009E999A-BC16-433F-80AA-3E479E19A9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5624" y="4286250"/>
              <a:ext cx="3968462" cy="2323883"/>
            </a:xfrm>
            <a:prstGeom prst="rect">
              <a:avLst/>
            </a:prstGeom>
          </p:spPr>
        </p:pic>
        <p:pic>
          <p:nvPicPr>
            <p:cNvPr id="10" name="Picture 9" descr="COVID-19 Great Looking Dashboard! It looks way better than the MOH ...">
              <a:extLst>
                <a:ext uri="{FF2B5EF4-FFF2-40B4-BE49-F238E27FC236}">
                  <a16:creationId xmlns:a16="http://schemas.microsoft.com/office/drawing/2014/main" id="{6DF6C3B0-6133-4470-913B-C6B75A6D9F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3430" y="4419600"/>
              <a:ext cx="1876425" cy="1904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1" descr="Maurice Lee on Twitter: &quot;If anyone is interested, because the ...">
              <a:extLst>
                <a:ext uri="{FF2B5EF4-FFF2-40B4-BE49-F238E27FC236}">
                  <a16:creationId xmlns:a16="http://schemas.microsoft.com/office/drawing/2014/main" id="{F168CF57-BDE3-4A04-B063-69DA3CAF3A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9856" y="4419600"/>
              <a:ext cx="1880770" cy="1904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Textfeld 51">
            <a:extLst>
              <a:ext uri="{FF2B5EF4-FFF2-40B4-BE49-F238E27FC236}">
                <a16:creationId xmlns:a16="http://schemas.microsoft.com/office/drawing/2014/main" id="{45204FCA-8111-4A25-8A78-D271ACECA300}"/>
              </a:ext>
            </a:extLst>
          </p:cNvPr>
          <p:cNvSpPr txBox="1"/>
          <p:nvPr/>
        </p:nvSpPr>
        <p:spPr bwMode="gray">
          <a:xfrm>
            <a:off x="8036528" y="3494177"/>
            <a:ext cx="3781714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tabLst>
                <a:tab pos="0" algn="l"/>
              </a:tabLst>
            </a:pPr>
            <a:r>
              <a:rPr lang="ru-RU" sz="1400" b="1" dirty="0">
                <a:solidFill>
                  <a:schemeClr val="accent5">
                    <a:lumMod val="40000"/>
                    <a:lumOff val="60000"/>
                  </a:schemeClr>
                </a:solidFill>
                <a:ea typeface="Arial Unicode MS"/>
              </a:rPr>
              <a:t>Детальная информация </a:t>
            </a:r>
          </a:p>
          <a:p>
            <a:pPr algn="ctr">
              <a:tabLst>
                <a:tab pos="0" algn="l"/>
              </a:tabLst>
            </a:pPr>
            <a:r>
              <a:rPr lang="ru-RU" sz="1400" b="1" dirty="0">
                <a:solidFill>
                  <a:schemeClr val="accent5">
                    <a:lumMod val="40000"/>
                    <a:lumOff val="60000"/>
                  </a:schemeClr>
                </a:solidFill>
                <a:ea typeface="Arial Unicode MS"/>
              </a:rPr>
              <a:t>о состоянии пути для выбранного участка </a:t>
            </a:r>
            <a:r>
              <a:rPr lang="en-US" sz="1400" b="1" dirty="0">
                <a:solidFill>
                  <a:schemeClr val="accent5">
                    <a:lumMod val="40000"/>
                    <a:lumOff val="60000"/>
                  </a:schemeClr>
                </a:solidFill>
                <a:ea typeface="Arial Unicode MS"/>
              </a:rPr>
              <a:t> </a:t>
            </a:r>
            <a:endParaRPr lang="ru-RU" sz="1400" b="1" dirty="0">
              <a:solidFill>
                <a:schemeClr val="accent5">
                  <a:lumMod val="40000"/>
                  <a:lumOff val="60000"/>
                </a:schemeClr>
              </a:solidFill>
              <a:ea typeface="Arial Unicode MS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4EBEAE4-9FA7-4805-A1DB-9F361B554B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36527" y="1007868"/>
            <a:ext cx="3784348" cy="217096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19F96B4-B8DF-43A6-8402-E72C79D79A2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5238" y="4122805"/>
            <a:ext cx="2334711" cy="208359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FF57C6D-0DD2-4BB6-B774-7E6546374C1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888" y="4126139"/>
            <a:ext cx="1480885" cy="1241792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3A08AE0-0841-4028-90AA-EC7D967F02A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7562" y="5351252"/>
            <a:ext cx="1463008" cy="855147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1BFFF894-78A5-434D-9987-0F99E456868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84865" y="2513422"/>
            <a:ext cx="1852873" cy="1485023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7C4F53AE-243C-4539-8421-D6EF0DE874E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4865" y="946414"/>
            <a:ext cx="1813230" cy="1450584"/>
          </a:xfrm>
          <a:prstGeom prst="rect">
            <a:avLst/>
          </a:prstGeom>
        </p:spPr>
      </p:pic>
      <p:sp>
        <p:nvSpPr>
          <p:cNvPr id="22" name="Равнобедренный треугольник 21">
            <a:extLst>
              <a:ext uri="{FF2B5EF4-FFF2-40B4-BE49-F238E27FC236}">
                <a16:creationId xmlns:a16="http://schemas.microsoft.com/office/drawing/2014/main" id="{C4834A32-9383-45A5-AFC0-943053CA7784}"/>
              </a:ext>
            </a:extLst>
          </p:cNvPr>
          <p:cNvSpPr/>
          <p:nvPr/>
        </p:nvSpPr>
        <p:spPr>
          <a:xfrm rot="5400000">
            <a:off x="1874881" y="5659565"/>
            <a:ext cx="1089132" cy="294684"/>
          </a:xfrm>
          <a:prstGeom prst="triangl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ru-RU" dirty="0"/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8962D55C-8F07-40EB-8D01-A199F61D278A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3662" y="5262337"/>
            <a:ext cx="1193775" cy="1089133"/>
          </a:xfrm>
          <a:prstGeom prst="rect">
            <a:avLst/>
          </a:prstGeom>
        </p:spPr>
      </p:pic>
      <p:sp>
        <p:nvSpPr>
          <p:cNvPr id="26" name="Rechteck 4">
            <a:extLst>
              <a:ext uri="{FF2B5EF4-FFF2-40B4-BE49-F238E27FC236}">
                <a16:creationId xmlns:a16="http://schemas.microsoft.com/office/drawing/2014/main" id="{AA169B27-87A3-4AAB-A3EE-1BDA041F6B59}"/>
              </a:ext>
            </a:extLst>
          </p:cNvPr>
          <p:cNvSpPr>
            <a:spLocks/>
          </p:cNvSpPr>
          <p:nvPr/>
        </p:nvSpPr>
        <p:spPr>
          <a:xfrm>
            <a:off x="943683" y="4329770"/>
            <a:ext cx="1304504" cy="8612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Установка </a:t>
            </a:r>
          </a:p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датчиков на </a:t>
            </a:r>
          </a:p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подвижной </a:t>
            </a:r>
          </a:p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состав 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CDFAACDC-B83D-43A7-B5E0-461A7229C801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1457" y="5262337"/>
            <a:ext cx="1692221" cy="1089132"/>
          </a:xfrm>
          <a:prstGeom prst="rect">
            <a:avLst/>
          </a:prstGeom>
        </p:spPr>
      </p:pic>
      <p:sp>
        <p:nvSpPr>
          <p:cNvPr id="28" name="Rechteck 4">
            <a:extLst>
              <a:ext uri="{FF2B5EF4-FFF2-40B4-BE49-F238E27FC236}">
                <a16:creationId xmlns:a16="http://schemas.microsoft.com/office/drawing/2014/main" id="{7B243661-F29E-469B-BC37-F310CBF6D553}"/>
              </a:ext>
            </a:extLst>
          </p:cNvPr>
          <p:cNvSpPr>
            <a:spLocks/>
          </p:cNvSpPr>
          <p:nvPr/>
        </p:nvSpPr>
        <p:spPr>
          <a:xfrm>
            <a:off x="2884551" y="4323718"/>
            <a:ext cx="1304504" cy="8612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Обеспечение </a:t>
            </a:r>
          </a:p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удалённой </a:t>
            </a:r>
          </a:p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передачи </a:t>
            </a:r>
          </a:p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данных </a:t>
            </a:r>
          </a:p>
        </p:txBody>
      </p:sp>
      <p:sp>
        <p:nvSpPr>
          <p:cNvPr id="29" name="Равнобедренный треугольник 28">
            <a:extLst>
              <a:ext uri="{FF2B5EF4-FFF2-40B4-BE49-F238E27FC236}">
                <a16:creationId xmlns:a16="http://schemas.microsoft.com/office/drawing/2014/main" id="{11762DA8-F24C-4797-97DD-10360248D48D}"/>
              </a:ext>
            </a:extLst>
          </p:cNvPr>
          <p:cNvSpPr/>
          <p:nvPr/>
        </p:nvSpPr>
        <p:spPr>
          <a:xfrm rot="5400000">
            <a:off x="4081885" y="5659561"/>
            <a:ext cx="1089132" cy="294684"/>
          </a:xfrm>
          <a:prstGeom prst="triangl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ru-RU" dirty="0"/>
          </a:p>
        </p:txBody>
      </p:sp>
      <p:grpSp>
        <p:nvGrpSpPr>
          <p:cNvPr id="237" name="Группа 236">
            <a:extLst>
              <a:ext uri="{FF2B5EF4-FFF2-40B4-BE49-F238E27FC236}">
                <a16:creationId xmlns:a16="http://schemas.microsoft.com/office/drawing/2014/main" id="{86F8ADF7-93C2-45DE-85CC-79C32B4283B4}"/>
              </a:ext>
            </a:extLst>
          </p:cNvPr>
          <p:cNvGrpSpPr/>
          <p:nvPr/>
        </p:nvGrpSpPr>
        <p:grpSpPr>
          <a:xfrm>
            <a:off x="4855813" y="5283119"/>
            <a:ext cx="2348619" cy="1089133"/>
            <a:chOff x="4302552" y="2512371"/>
            <a:chExt cx="2120866" cy="855784"/>
          </a:xfrm>
        </p:grpSpPr>
        <p:sp>
          <p:nvSpPr>
            <p:cNvPr id="98" name="Freeform 748">
              <a:extLst>
                <a:ext uri="{FF2B5EF4-FFF2-40B4-BE49-F238E27FC236}">
                  <a16:creationId xmlns:a16="http://schemas.microsoft.com/office/drawing/2014/main" id="{8A4FC689-1A56-4374-B836-320DF3263FD3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2552" y="2512371"/>
              <a:ext cx="1022515" cy="59167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0" y="0"/>
                </a:cxn>
                <a:cxn ang="0">
                  <a:pos x="336" y="0"/>
                </a:cxn>
                <a:cxn ang="0">
                  <a:pos x="346" y="10"/>
                </a:cxn>
                <a:cxn ang="0">
                  <a:pos x="346" y="190"/>
                </a:cxn>
                <a:cxn ang="0">
                  <a:pos x="336" y="200"/>
                </a:cxn>
                <a:cxn ang="0">
                  <a:pos x="10" y="200"/>
                </a:cxn>
                <a:cxn ang="0">
                  <a:pos x="0" y="190"/>
                </a:cxn>
                <a:cxn ang="0">
                  <a:pos x="0" y="10"/>
                </a:cxn>
              </a:cxnLst>
              <a:rect l="0" t="0" r="r" b="b"/>
              <a:pathLst>
                <a:path w="346" h="200">
                  <a:moveTo>
                    <a:pt x="0" y="10"/>
                  </a:moveTo>
                  <a:cubicBezTo>
                    <a:pt x="0" y="4"/>
                    <a:pt x="5" y="0"/>
                    <a:pt x="10" y="0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42" y="0"/>
                    <a:pt x="346" y="4"/>
                    <a:pt x="346" y="10"/>
                  </a:cubicBezTo>
                  <a:cubicBezTo>
                    <a:pt x="346" y="190"/>
                    <a:pt x="346" y="190"/>
                    <a:pt x="346" y="190"/>
                  </a:cubicBezTo>
                  <a:cubicBezTo>
                    <a:pt x="346" y="195"/>
                    <a:pt x="342" y="200"/>
                    <a:pt x="336" y="200"/>
                  </a:cubicBezTo>
                  <a:cubicBezTo>
                    <a:pt x="10" y="200"/>
                    <a:pt x="10" y="200"/>
                    <a:pt x="10" y="200"/>
                  </a:cubicBezTo>
                  <a:cubicBezTo>
                    <a:pt x="5" y="200"/>
                    <a:pt x="0" y="195"/>
                    <a:pt x="0" y="190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9BAFB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99" name="Freeform 749">
              <a:extLst>
                <a:ext uri="{FF2B5EF4-FFF2-40B4-BE49-F238E27FC236}">
                  <a16:creationId xmlns:a16="http://schemas.microsoft.com/office/drawing/2014/main" id="{32D6F079-18E7-4BA9-A273-9F50E1223DDC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8454" y="3341596"/>
              <a:ext cx="1013662" cy="26559"/>
            </a:xfrm>
            <a:custGeom>
              <a:avLst/>
              <a:gdLst/>
              <a:ahLst/>
              <a:cxnLst>
                <a:cxn ang="0">
                  <a:pos x="13" y="9"/>
                </a:cxn>
                <a:cxn ang="0">
                  <a:pos x="0" y="0"/>
                </a:cxn>
                <a:cxn ang="0">
                  <a:pos x="343" y="0"/>
                </a:cxn>
                <a:cxn ang="0">
                  <a:pos x="330" y="9"/>
                </a:cxn>
              </a:cxnLst>
              <a:rect l="0" t="0" r="r" b="b"/>
              <a:pathLst>
                <a:path w="343" h="9">
                  <a:moveTo>
                    <a:pt x="13" y="9"/>
                  </a:moveTo>
                  <a:cubicBezTo>
                    <a:pt x="5" y="9"/>
                    <a:pt x="0" y="7"/>
                    <a:pt x="0" y="0"/>
                  </a:cubicBezTo>
                  <a:cubicBezTo>
                    <a:pt x="343" y="0"/>
                    <a:pt x="343" y="0"/>
                    <a:pt x="343" y="0"/>
                  </a:cubicBezTo>
                  <a:cubicBezTo>
                    <a:pt x="343" y="7"/>
                    <a:pt x="337" y="9"/>
                    <a:pt x="330" y="9"/>
                  </a:cubicBezTo>
                </a:path>
              </a:pathLst>
            </a:custGeom>
            <a:solidFill>
              <a:srgbClr val="78879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00" name="Rectangle 750">
              <a:extLst>
                <a:ext uri="{FF2B5EF4-FFF2-40B4-BE49-F238E27FC236}">
                  <a16:creationId xmlns:a16="http://schemas.microsoft.com/office/drawing/2014/main" id="{99BC4C0B-5EF3-4B0D-9ED4-34FD2572CF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696508" y="3104042"/>
              <a:ext cx="236079" cy="106236"/>
            </a:xfrm>
            <a:prstGeom prst="rect">
              <a:avLst/>
            </a:prstGeom>
            <a:solidFill>
              <a:srgbClr val="78879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01" name="Freeform 751">
              <a:extLst>
                <a:ext uri="{FF2B5EF4-FFF2-40B4-BE49-F238E27FC236}">
                  <a16:creationId xmlns:a16="http://schemas.microsoft.com/office/drawing/2014/main" id="{9E5471AB-6B32-4C40-9042-82F7659F0EB0}"/>
                </a:ext>
              </a:extLst>
            </p:cNvPr>
            <p:cNvSpPr>
              <a:spLocks/>
            </p:cNvSpPr>
            <p:nvPr/>
          </p:nvSpPr>
          <p:spPr bwMode="gray">
            <a:xfrm>
              <a:off x="4308454" y="3210277"/>
              <a:ext cx="1013662" cy="131319"/>
            </a:xfrm>
            <a:custGeom>
              <a:avLst/>
              <a:gdLst/>
              <a:ahLst/>
              <a:cxnLst>
                <a:cxn ang="0">
                  <a:pos x="89" y="0"/>
                </a:cxn>
                <a:cxn ang="0">
                  <a:pos x="597" y="0"/>
                </a:cxn>
                <a:cxn ang="0">
                  <a:pos x="687" y="89"/>
                </a:cxn>
                <a:cxn ang="0">
                  <a:pos x="0" y="89"/>
                </a:cxn>
                <a:cxn ang="0">
                  <a:pos x="89" y="0"/>
                </a:cxn>
              </a:cxnLst>
              <a:rect l="0" t="0" r="r" b="b"/>
              <a:pathLst>
                <a:path w="687" h="89">
                  <a:moveTo>
                    <a:pt x="89" y="0"/>
                  </a:moveTo>
                  <a:lnTo>
                    <a:pt x="597" y="0"/>
                  </a:lnTo>
                  <a:lnTo>
                    <a:pt x="687" y="89"/>
                  </a:lnTo>
                  <a:lnTo>
                    <a:pt x="0" y="89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9BAFB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02" name="Rectangle 752">
              <a:extLst>
                <a:ext uri="{FF2B5EF4-FFF2-40B4-BE49-F238E27FC236}">
                  <a16:creationId xmlns:a16="http://schemas.microsoft.com/office/drawing/2014/main" id="{8F54F1DC-3916-4478-8D10-74313E885E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61571" y="2571390"/>
              <a:ext cx="907427" cy="47363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03" name="Rectangle 753">
              <a:extLst>
                <a:ext uri="{FF2B5EF4-FFF2-40B4-BE49-F238E27FC236}">
                  <a16:creationId xmlns:a16="http://schemas.microsoft.com/office/drawing/2014/main" id="{DB418A9A-8964-4A27-9E89-C13FC1F7A90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92557" y="2596473"/>
              <a:ext cx="519373" cy="1292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40" b="0" i="0" u="none" strike="noStrike" cap="none" normalizeH="0" baseline="0" dirty="0">
                  <a:ln>
                    <a:noFill/>
                  </a:ln>
                  <a:solidFill>
                    <a:srgbClr val="32A0A0"/>
                  </a:solidFill>
                  <a:effectLst/>
                  <a:latin typeface="Myriad Pro" pitchFamily="34" charset="0"/>
                  <a:cs typeface="Arial" pitchFamily="34" charset="0"/>
                </a:rPr>
                <a:t>001001011</a:t>
              </a:r>
              <a:endParaRPr kumimoji="0" lang="en-US" sz="840" b="0" i="0" u="none" strike="noStrike" cap="none" normalizeH="0" baseline="0" dirty="0">
                <a:ln>
                  <a:noFill/>
                </a:ln>
                <a:solidFill>
                  <a:srgbClr val="32A0A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04" name="Rectangle 754">
              <a:extLst>
                <a:ext uri="{FF2B5EF4-FFF2-40B4-BE49-F238E27FC236}">
                  <a16:creationId xmlns:a16="http://schemas.microsoft.com/office/drawing/2014/main" id="{C05321B0-8788-4F5B-BFA1-194CA43F41F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94224" y="2624508"/>
              <a:ext cx="38363" cy="73775"/>
            </a:xfrm>
            <a:prstGeom prst="rect">
              <a:avLst/>
            </a:prstGeom>
            <a:solidFill>
              <a:srgbClr val="32A0A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05" name="Rectangle 755">
              <a:extLst>
                <a:ext uri="{FF2B5EF4-FFF2-40B4-BE49-F238E27FC236}">
                  <a16:creationId xmlns:a16="http://schemas.microsoft.com/office/drawing/2014/main" id="{9E3B0AB3-22E9-4126-9986-F34C525C4FB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65047" y="2624508"/>
              <a:ext cx="61971" cy="73775"/>
            </a:xfrm>
            <a:prstGeom prst="rect">
              <a:avLst/>
            </a:prstGeom>
            <a:solidFill>
              <a:srgbClr val="32A0A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06" name="Rectangle 756">
              <a:extLst>
                <a:ext uri="{FF2B5EF4-FFF2-40B4-BE49-F238E27FC236}">
                  <a16:creationId xmlns:a16="http://schemas.microsoft.com/office/drawing/2014/main" id="{E773B3DB-A537-43C0-874A-21B660419DA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62430" y="2624508"/>
              <a:ext cx="70824" cy="73775"/>
            </a:xfrm>
            <a:prstGeom prst="rect">
              <a:avLst/>
            </a:prstGeom>
            <a:solidFill>
              <a:srgbClr val="32A0A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07" name="Rectangle 757">
              <a:extLst>
                <a:ext uri="{FF2B5EF4-FFF2-40B4-BE49-F238E27FC236}">
                  <a16:creationId xmlns:a16="http://schemas.microsoft.com/office/drawing/2014/main" id="{795FEEA4-59BE-457C-902F-6440FE3753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68665" y="2624508"/>
              <a:ext cx="70824" cy="73775"/>
            </a:xfrm>
            <a:prstGeom prst="rect">
              <a:avLst/>
            </a:prstGeom>
            <a:solidFill>
              <a:srgbClr val="32A0A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08" name="Rectangle 758">
              <a:extLst>
                <a:ext uri="{FF2B5EF4-FFF2-40B4-BE49-F238E27FC236}">
                  <a16:creationId xmlns:a16="http://schemas.microsoft.com/office/drawing/2014/main" id="{49584430-2267-46FB-A509-E49B554788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92557" y="2738121"/>
              <a:ext cx="577081" cy="1292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40" b="0" i="0" u="none" strike="noStrike" cap="none" normalizeH="0" baseline="0" dirty="0">
                  <a:ln>
                    <a:noFill/>
                  </a:ln>
                  <a:solidFill>
                    <a:srgbClr val="005071"/>
                  </a:solidFill>
                  <a:effectLst/>
                  <a:latin typeface="Myriad Pro" pitchFamily="34" charset="0"/>
                  <a:cs typeface="Arial" pitchFamily="34" charset="0"/>
                </a:rPr>
                <a:t>1011010111</a:t>
              </a:r>
              <a:endParaRPr kumimoji="0" lang="en-US" sz="84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9" name="Rectangle 759">
              <a:extLst>
                <a:ext uri="{FF2B5EF4-FFF2-40B4-BE49-F238E27FC236}">
                  <a16:creationId xmlns:a16="http://schemas.microsoft.com/office/drawing/2014/main" id="{04BDEDFE-C078-4DFE-B240-75B4C08AF60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47341" y="2766155"/>
              <a:ext cx="79677" cy="70824"/>
            </a:xfrm>
            <a:prstGeom prst="rect">
              <a:avLst/>
            </a:prstGeom>
            <a:solidFill>
              <a:srgbClr val="005F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10" name="Rectangle 760">
              <a:extLst>
                <a:ext uri="{FF2B5EF4-FFF2-40B4-BE49-F238E27FC236}">
                  <a16:creationId xmlns:a16="http://schemas.microsoft.com/office/drawing/2014/main" id="{4B41B0EC-2FB2-4897-B459-C7379A9D8BF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62430" y="2766155"/>
              <a:ext cx="70824" cy="70824"/>
            </a:xfrm>
            <a:prstGeom prst="rect">
              <a:avLst/>
            </a:prstGeom>
            <a:solidFill>
              <a:srgbClr val="00507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005F87"/>
                </a:solidFill>
              </a:endParaRPr>
            </a:p>
          </p:txBody>
        </p:sp>
        <p:sp>
          <p:nvSpPr>
            <p:cNvPr id="111" name="Rectangle 761">
              <a:extLst>
                <a:ext uri="{FF2B5EF4-FFF2-40B4-BE49-F238E27FC236}">
                  <a16:creationId xmlns:a16="http://schemas.microsoft.com/office/drawing/2014/main" id="{119399BC-F28F-4B0F-A62F-2046C775C30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68665" y="2766155"/>
              <a:ext cx="70824" cy="70824"/>
            </a:xfrm>
            <a:prstGeom prst="rect">
              <a:avLst/>
            </a:prstGeom>
            <a:solidFill>
              <a:srgbClr val="00507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>
                <a:solidFill>
                  <a:srgbClr val="005F87"/>
                </a:solidFill>
              </a:endParaRPr>
            </a:p>
          </p:txBody>
        </p:sp>
        <p:sp>
          <p:nvSpPr>
            <p:cNvPr id="112" name="Rectangle 762">
              <a:extLst>
                <a:ext uri="{FF2B5EF4-FFF2-40B4-BE49-F238E27FC236}">
                  <a16:creationId xmlns:a16="http://schemas.microsoft.com/office/drawing/2014/main" id="{AD25E5DC-6E11-4688-86F2-E67B813A9E3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392557" y="2879768"/>
              <a:ext cx="519373" cy="1292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R="0" lvl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40" b="0" i="0" u="none" strike="noStrike" cap="none" normalizeH="0" baseline="0" dirty="0">
                  <a:ln>
                    <a:noFill/>
                  </a:ln>
                  <a:solidFill>
                    <a:srgbClr val="3BA4BF"/>
                  </a:solidFill>
                  <a:effectLst/>
                  <a:latin typeface="Myriad Pro" pitchFamily="34" charset="0"/>
                  <a:cs typeface="Arial" pitchFamily="34" charset="0"/>
                </a:rPr>
                <a:t>011001111</a:t>
              </a:r>
              <a:endParaRPr kumimoji="0" lang="en-US" sz="84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3" name="Rectangle 763">
              <a:extLst>
                <a:ext uri="{FF2B5EF4-FFF2-40B4-BE49-F238E27FC236}">
                  <a16:creationId xmlns:a16="http://schemas.microsoft.com/office/drawing/2014/main" id="{6675C8A9-6053-47A5-8973-FED5C5832B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94224" y="2909277"/>
              <a:ext cx="38363" cy="70824"/>
            </a:xfrm>
            <a:prstGeom prst="rect">
              <a:avLst/>
            </a:prstGeom>
            <a:solidFill>
              <a:srgbClr val="41AAC8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14" name="Rectangle 764">
              <a:extLst>
                <a:ext uri="{FF2B5EF4-FFF2-40B4-BE49-F238E27FC236}">
                  <a16:creationId xmlns:a16="http://schemas.microsoft.com/office/drawing/2014/main" id="{3ADF0BA9-08B9-4FAB-8957-CC997132D5D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65047" y="2909277"/>
              <a:ext cx="61971" cy="70824"/>
            </a:xfrm>
            <a:prstGeom prst="rect">
              <a:avLst/>
            </a:prstGeom>
            <a:solidFill>
              <a:srgbClr val="41AAC8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15" name="Rectangle 765">
              <a:extLst>
                <a:ext uri="{FF2B5EF4-FFF2-40B4-BE49-F238E27FC236}">
                  <a16:creationId xmlns:a16="http://schemas.microsoft.com/office/drawing/2014/main" id="{8B916EDE-5B76-423A-906F-968AAA07D5D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62430" y="2909277"/>
              <a:ext cx="70824" cy="70824"/>
            </a:xfrm>
            <a:prstGeom prst="rect">
              <a:avLst/>
            </a:prstGeom>
            <a:solidFill>
              <a:srgbClr val="41AAC8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16" name="Rectangle 766">
              <a:extLst>
                <a:ext uri="{FF2B5EF4-FFF2-40B4-BE49-F238E27FC236}">
                  <a16:creationId xmlns:a16="http://schemas.microsoft.com/office/drawing/2014/main" id="{FFBA4A43-CDCF-49D6-BC36-0914ABA21F9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68665" y="2909277"/>
              <a:ext cx="70824" cy="70824"/>
            </a:xfrm>
            <a:prstGeom prst="rect">
              <a:avLst/>
            </a:prstGeom>
            <a:solidFill>
              <a:srgbClr val="41AAC8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17" name="Freeform 767">
              <a:extLst>
                <a:ext uri="{FF2B5EF4-FFF2-40B4-BE49-F238E27FC236}">
                  <a16:creationId xmlns:a16="http://schemas.microsoft.com/office/drawing/2014/main" id="{BEFC4706-CB4F-4FA3-B958-848759F066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00903" y="2516488"/>
              <a:ext cx="1022515" cy="591671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0" y="0"/>
                </a:cxn>
                <a:cxn ang="0">
                  <a:pos x="336" y="0"/>
                </a:cxn>
                <a:cxn ang="0">
                  <a:pos x="346" y="10"/>
                </a:cxn>
                <a:cxn ang="0">
                  <a:pos x="346" y="190"/>
                </a:cxn>
                <a:cxn ang="0">
                  <a:pos x="336" y="200"/>
                </a:cxn>
                <a:cxn ang="0">
                  <a:pos x="10" y="200"/>
                </a:cxn>
                <a:cxn ang="0">
                  <a:pos x="0" y="190"/>
                </a:cxn>
                <a:cxn ang="0">
                  <a:pos x="0" y="10"/>
                </a:cxn>
              </a:cxnLst>
              <a:rect l="0" t="0" r="r" b="b"/>
              <a:pathLst>
                <a:path w="346" h="200">
                  <a:moveTo>
                    <a:pt x="0" y="10"/>
                  </a:moveTo>
                  <a:cubicBezTo>
                    <a:pt x="0" y="4"/>
                    <a:pt x="4" y="0"/>
                    <a:pt x="10" y="0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41" y="0"/>
                    <a:pt x="346" y="4"/>
                    <a:pt x="346" y="10"/>
                  </a:cubicBezTo>
                  <a:cubicBezTo>
                    <a:pt x="346" y="190"/>
                    <a:pt x="346" y="190"/>
                    <a:pt x="346" y="190"/>
                  </a:cubicBezTo>
                  <a:cubicBezTo>
                    <a:pt x="346" y="195"/>
                    <a:pt x="341" y="200"/>
                    <a:pt x="336" y="200"/>
                  </a:cubicBezTo>
                  <a:cubicBezTo>
                    <a:pt x="10" y="200"/>
                    <a:pt x="10" y="200"/>
                    <a:pt x="10" y="200"/>
                  </a:cubicBezTo>
                  <a:cubicBezTo>
                    <a:pt x="4" y="200"/>
                    <a:pt x="0" y="195"/>
                    <a:pt x="0" y="190"/>
                  </a:cubicBezTo>
                  <a:cubicBezTo>
                    <a:pt x="0" y="10"/>
                    <a:pt x="0" y="10"/>
                    <a:pt x="0" y="10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18" name="Rectangle 768">
              <a:extLst>
                <a:ext uri="{FF2B5EF4-FFF2-40B4-BE49-F238E27FC236}">
                  <a16:creationId xmlns:a16="http://schemas.microsoft.com/office/drawing/2014/main" id="{6F192555-51E8-4F00-B0A9-56C7C73572D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93383" y="3108159"/>
              <a:ext cx="236079" cy="109187"/>
            </a:xfrm>
            <a:prstGeom prst="rect">
              <a:avLst/>
            </a:prstGeom>
            <a:solidFill>
              <a:srgbClr val="78879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19" name="Rectangle 769">
              <a:extLst>
                <a:ext uri="{FF2B5EF4-FFF2-40B4-BE49-F238E27FC236}">
                  <a16:creationId xmlns:a16="http://schemas.microsoft.com/office/drawing/2014/main" id="{B6A4CBB3-7AE3-4FB6-BAD7-06A1D6A5718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13707" y="3217346"/>
              <a:ext cx="392481" cy="3836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0" name="Rectangle 770">
              <a:extLst>
                <a:ext uri="{FF2B5EF4-FFF2-40B4-BE49-F238E27FC236}">
                  <a16:creationId xmlns:a16="http://schemas.microsoft.com/office/drawing/2014/main" id="{AD097AEC-60E8-4C82-9D01-526F71E0214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59923" y="2575507"/>
              <a:ext cx="904476" cy="47363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1" name="Rectangle 771">
              <a:extLst>
                <a:ext uri="{FF2B5EF4-FFF2-40B4-BE49-F238E27FC236}">
                  <a16:creationId xmlns:a16="http://schemas.microsoft.com/office/drawing/2014/main" id="{ADC26BC1-E0F7-47C3-9E84-E60AA5A6D55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59923" y="2575507"/>
              <a:ext cx="904476" cy="4736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2" name="Rectangle 772">
              <a:extLst>
                <a:ext uri="{FF2B5EF4-FFF2-40B4-BE49-F238E27FC236}">
                  <a16:creationId xmlns:a16="http://schemas.microsoft.com/office/drawing/2014/main" id="{1FAADE59-A0FD-4DAF-9873-CFD084F8C94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59923" y="2575507"/>
              <a:ext cx="348216" cy="473632"/>
            </a:xfrm>
            <a:prstGeom prst="rect">
              <a:avLst/>
            </a:prstGeom>
            <a:solidFill>
              <a:srgbClr val="41AAC8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3" name="Rectangle 773">
              <a:extLst>
                <a:ext uri="{FF2B5EF4-FFF2-40B4-BE49-F238E27FC236}">
                  <a16:creationId xmlns:a16="http://schemas.microsoft.com/office/drawing/2014/main" id="{B14F531C-B552-4724-978C-9C79E7CD532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59923" y="2575507"/>
              <a:ext cx="348216" cy="4736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4" name="Rectangle 774">
              <a:extLst>
                <a:ext uri="{FF2B5EF4-FFF2-40B4-BE49-F238E27FC236}">
                  <a16:creationId xmlns:a16="http://schemas.microsoft.com/office/drawing/2014/main" id="{C350C28D-936E-47C0-8DC1-DE177ABD98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98286" y="2672890"/>
              <a:ext cx="5902" cy="267064"/>
            </a:xfrm>
            <a:prstGeom prst="rect">
              <a:avLst/>
            </a:prstGeom>
            <a:solidFill>
              <a:srgbClr val="00507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5" name="Oval 775">
              <a:extLst>
                <a:ext uri="{FF2B5EF4-FFF2-40B4-BE49-F238E27FC236}">
                  <a16:creationId xmlns:a16="http://schemas.microsoft.com/office/drawing/2014/main" id="{DE913A4D-11F6-46C8-882B-4CFC8A06619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92384" y="2705350"/>
              <a:ext cx="17706" cy="17706"/>
            </a:xfrm>
            <a:prstGeom prst="ellipse">
              <a:avLst/>
            </a:pr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6" name="Oval 776">
              <a:extLst>
                <a:ext uri="{FF2B5EF4-FFF2-40B4-BE49-F238E27FC236}">
                  <a16:creationId xmlns:a16="http://schemas.microsoft.com/office/drawing/2014/main" id="{81715B6E-2B40-495F-BD65-C2E2A530BBD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92384" y="2749615"/>
              <a:ext cx="17706" cy="17706"/>
            </a:xfrm>
            <a:prstGeom prst="ellipse">
              <a:avLst/>
            </a:pr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7" name="Oval 777">
              <a:extLst>
                <a:ext uri="{FF2B5EF4-FFF2-40B4-BE49-F238E27FC236}">
                  <a16:creationId xmlns:a16="http://schemas.microsoft.com/office/drawing/2014/main" id="{8A5EE5E0-2340-4D3B-9D5D-1D74AE2884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92384" y="2793880"/>
              <a:ext cx="17706" cy="17706"/>
            </a:xfrm>
            <a:prstGeom prst="ellipse">
              <a:avLst/>
            </a:pr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8" name="Oval 778">
              <a:extLst>
                <a:ext uri="{FF2B5EF4-FFF2-40B4-BE49-F238E27FC236}">
                  <a16:creationId xmlns:a16="http://schemas.microsoft.com/office/drawing/2014/main" id="{30C56D7B-ADC9-4479-8556-CA19DCCCAB1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92384" y="2882409"/>
              <a:ext cx="17706" cy="22132"/>
            </a:xfrm>
            <a:prstGeom prst="ellipse">
              <a:avLst/>
            </a:pr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29" name="Oval 779">
              <a:extLst>
                <a:ext uri="{FF2B5EF4-FFF2-40B4-BE49-F238E27FC236}">
                  <a16:creationId xmlns:a16="http://schemas.microsoft.com/office/drawing/2014/main" id="{0212A6E1-32B0-4E7B-9144-683146F577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92384" y="2928149"/>
              <a:ext cx="17706" cy="20657"/>
            </a:xfrm>
            <a:prstGeom prst="ellipse">
              <a:avLst/>
            </a:pr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0" name="Oval 780">
              <a:extLst>
                <a:ext uri="{FF2B5EF4-FFF2-40B4-BE49-F238E27FC236}">
                  <a16:creationId xmlns:a16="http://schemas.microsoft.com/office/drawing/2014/main" id="{9AE48495-C3F0-4044-8424-AA712380B1D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48452" y="2882409"/>
              <a:ext cx="17706" cy="22132"/>
            </a:xfrm>
            <a:prstGeom prst="ellipse">
              <a:avLst/>
            </a:pr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1" name="Oval 781">
              <a:extLst>
                <a:ext uri="{FF2B5EF4-FFF2-40B4-BE49-F238E27FC236}">
                  <a16:creationId xmlns:a16="http://schemas.microsoft.com/office/drawing/2014/main" id="{26485377-2372-4399-90E3-531ADC97D9A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48452" y="2838145"/>
              <a:ext cx="17706" cy="20657"/>
            </a:xfrm>
            <a:prstGeom prst="ellipse">
              <a:avLst/>
            </a:pr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2" name="Freeform 782">
              <a:extLst>
                <a:ext uri="{FF2B5EF4-FFF2-40B4-BE49-F238E27FC236}">
                  <a16:creationId xmlns:a16="http://schemas.microsoft.com/office/drawing/2014/main" id="{4E13642E-FF7C-454B-B3D3-831F6B8E86A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01236" y="2844047"/>
              <a:ext cx="59019" cy="48691"/>
            </a:xfrm>
            <a:custGeom>
              <a:avLst/>
              <a:gdLst/>
              <a:ahLst/>
              <a:cxnLst>
                <a:cxn ang="0">
                  <a:pos x="40" y="33"/>
                </a:cxn>
                <a:cxn ang="0">
                  <a:pos x="36" y="33"/>
                </a:cxn>
                <a:cxn ang="0">
                  <a:pos x="36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0" y="0"/>
                </a:cxn>
                <a:cxn ang="0">
                  <a:pos x="40" y="33"/>
                </a:cxn>
              </a:cxnLst>
              <a:rect l="0" t="0" r="r" b="b"/>
              <a:pathLst>
                <a:path w="40" h="33">
                  <a:moveTo>
                    <a:pt x="40" y="33"/>
                  </a:moveTo>
                  <a:lnTo>
                    <a:pt x="36" y="33"/>
                  </a:lnTo>
                  <a:lnTo>
                    <a:pt x="36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0" y="0"/>
                  </a:lnTo>
                  <a:lnTo>
                    <a:pt x="40" y="33"/>
                  </a:lnTo>
                  <a:close/>
                </a:path>
              </a:pathLst>
            </a:cu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3" name="Oval 783">
              <a:extLst>
                <a:ext uri="{FF2B5EF4-FFF2-40B4-BE49-F238E27FC236}">
                  <a16:creationId xmlns:a16="http://schemas.microsoft.com/office/drawing/2014/main" id="{133FF31A-901F-4778-922C-369E7BE2FDC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492384" y="2838145"/>
              <a:ext cx="17706" cy="20657"/>
            </a:xfrm>
            <a:prstGeom prst="ellipse">
              <a:avLst/>
            </a:pr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4" name="Rectangle 784">
              <a:extLst>
                <a:ext uri="{FF2B5EF4-FFF2-40B4-BE49-F238E27FC236}">
                  <a16:creationId xmlns:a16="http://schemas.microsoft.com/office/drawing/2014/main" id="{32E88427-9D55-4CCE-821F-BBD561589E1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10756" y="2672890"/>
              <a:ext cx="2951" cy="9738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5" name="Rectangle 785">
              <a:extLst>
                <a:ext uri="{FF2B5EF4-FFF2-40B4-BE49-F238E27FC236}">
                  <a16:creationId xmlns:a16="http://schemas.microsoft.com/office/drawing/2014/main" id="{0FFBB933-3F80-4D2F-8C3B-8A0B6A04078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10756" y="2672890"/>
              <a:ext cx="2951" cy="973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6" name="Oval 786">
              <a:extLst>
                <a:ext uri="{FF2B5EF4-FFF2-40B4-BE49-F238E27FC236}">
                  <a16:creationId xmlns:a16="http://schemas.microsoft.com/office/drawing/2014/main" id="{61A6E6B7-1CC3-4FCD-9500-70ECB112055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42883" y="2761419"/>
              <a:ext cx="17706" cy="17706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7" name="Oval 787">
              <a:extLst>
                <a:ext uri="{FF2B5EF4-FFF2-40B4-BE49-F238E27FC236}">
                  <a16:creationId xmlns:a16="http://schemas.microsoft.com/office/drawing/2014/main" id="{E6CDC647-2DB9-41A6-B71F-0DB2CE58CAF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57972" y="2761419"/>
              <a:ext cx="17706" cy="17706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8" name="Oval 788">
              <a:extLst>
                <a:ext uri="{FF2B5EF4-FFF2-40B4-BE49-F238E27FC236}">
                  <a16:creationId xmlns:a16="http://schemas.microsoft.com/office/drawing/2014/main" id="{4BEB9D5D-B5C2-4067-AF41-9D091A520D7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13707" y="2846998"/>
              <a:ext cx="17706" cy="2065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39" name="Oval 789">
              <a:extLst>
                <a:ext uri="{FF2B5EF4-FFF2-40B4-BE49-F238E27FC236}">
                  <a16:creationId xmlns:a16="http://schemas.microsoft.com/office/drawing/2014/main" id="{920A7FEA-8EB8-4728-8307-1493C80363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49119" y="2846998"/>
              <a:ext cx="17706" cy="2065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0" name="Oval 790">
              <a:extLst>
                <a:ext uri="{FF2B5EF4-FFF2-40B4-BE49-F238E27FC236}">
                  <a16:creationId xmlns:a16="http://schemas.microsoft.com/office/drawing/2014/main" id="{594CBC94-A7B0-411B-9CBD-9F54892DFB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42883" y="2817487"/>
              <a:ext cx="17706" cy="17706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1" name="Oval 791">
              <a:extLst>
                <a:ext uri="{FF2B5EF4-FFF2-40B4-BE49-F238E27FC236}">
                  <a16:creationId xmlns:a16="http://schemas.microsoft.com/office/drawing/2014/main" id="{8650CCA2-6830-420A-8ADB-72ED72F050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42883" y="2873557"/>
              <a:ext cx="17706" cy="19181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2" name="Oval 792">
              <a:extLst>
                <a:ext uri="{FF2B5EF4-FFF2-40B4-BE49-F238E27FC236}">
                  <a16:creationId xmlns:a16="http://schemas.microsoft.com/office/drawing/2014/main" id="{225CCB9D-09B6-4E9A-9F0A-795D0EB9FF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42883" y="2928149"/>
              <a:ext cx="17706" cy="20657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3" name="Freeform 793">
              <a:extLst>
                <a:ext uri="{FF2B5EF4-FFF2-40B4-BE49-F238E27FC236}">
                  <a16:creationId xmlns:a16="http://schemas.microsoft.com/office/drawing/2014/main" id="{D9182BD7-A1C9-4758-B7D4-78249C1F4B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785" y="2737811"/>
              <a:ext cx="120990" cy="32461"/>
            </a:xfrm>
            <a:custGeom>
              <a:avLst/>
              <a:gdLst/>
              <a:ahLst/>
              <a:cxnLst>
                <a:cxn ang="0">
                  <a:pos x="82" y="22"/>
                </a:cxn>
                <a:cxn ang="0">
                  <a:pos x="78" y="22"/>
                </a:cxn>
                <a:cxn ang="0">
                  <a:pos x="78" y="4"/>
                </a:cxn>
                <a:cxn ang="0">
                  <a:pos x="4" y="4"/>
                </a:cxn>
                <a:cxn ang="0">
                  <a:pos x="4" y="22"/>
                </a:cxn>
                <a:cxn ang="0">
                  <a:pos x="0" y="22"/>
                </a:cxn>
                <a:cxn ang="0">
                  <a:pos x="0" y="0"/>
                </a:cxn>
                <a:cxn ang="0">
                  <a:pos x="82" y="0"/>
                </a:cxn>
                <a:cxn ang="0">
                  <a:pos x="82" y="22"/>
                </a:cxn>
              </a:cxnLst>
              <a:rect l="0" t="0" r="r" b="b"/>
              <a:pathLst>
                <a:path w="82" h="22">
                  <a:moveTo>
                    <a:pt x="82" y="22"/>
                  </a:moveTo>
                  <a:lnTo>
                    <a:pt x="78" y="22"/>
                  </a:lnTo>
                  <a:lnTo>
                    <a:pt x="78" y="4"/>
                  </a:lnTo>
                  <a:lnTo>
                    <a:pt x="4" y="4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82" y="0"/>
                  </a:lnTo>
                  <a:lnTo>
                    <a:pt x="82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4" name="Freeform 794">
              <a:extLst>
                <a:ext uri="{FF2B5EF4-FFF2-40B4-BE49-F238E27FC236}">
                  <a16:creationId xmlns:a16="http://schemas.microsoft.com/office/drawing/2014/main" id="{3AB4251F-8FA1-482C-A542-1F31D14300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785" y="2737811"/>
              <a:ext cx="120990" cy="32461"/>
            </a:xfrm>
            <a:custGeom>
              <a:avLst/>
              <a:gdLst/>
              <a:ahLst/>
              <a:cxnLst>
                <a:cxn ang="0">
                  <a:pos x="82" y="22"/>
                </a:cxn>
                <a:cxn ang="0">
                  <a:pos x="78" y="22"/>
                </a:cxn>
                <a:cxn ang="0">
                  <a:pos x="78" y="4"/>
                </a:cxn>
                <a:cxn ang="0">
                  <a:pos x="4" y="4"/>
                </a:cxn>
                <a:cxn ang="0">
                  <a:pos x="4" y="22"/>
                </a:cxn>
                <a:cxn ang="0">
                  <a:pos x="0" y="22"/>
                </a:cxn>
                <a:cxn ang="0">
                  <a:pos x="0" y="0"/>
                </a:cxn>
                <a:cxn ang="0">
                  <a:pos x="82" y="0"/>
                </a:cxn>
                <a:cxn ang="0">
                  <a:pos x="82" y="22"/>
                </a:cxn>
              </a:cxnLst>
              <a:rect l="0" t="0" r="r" b="b"/>
              <a:pathLst>
                <a:path w="82" h="22">
                  <a:moveTo>
                    <a:pt x="82" y="22"/>
                  </a:moveTo>
                  <a:lnTo>
                    <a:pt x="78" y="22"/>
                  </a:lnTo>
                  <a:lnTo>
                    <a:pt x="78" y="4"/>
                  </a:lnTo>
                  <a:lnTo>
                    <a:pt x="4" y="4"/>
                  </a:lnTo>
                  <a:lnTo>
                    <a:pt x="4" y="22"/>
                  </a:lnTo>
                  <a:lnTo>
                    <a:pt x="0" y="22"/>
                  </a:lnTo>
                  <a:lnTo>
                    <a:pt x="0" y="0"/>
                  </a:lnTo>
                  <a:lnTo>
                    <a:pt x="82" y="0"/>
                  </a:lnTo>
                  <a:lnTo>
                    <a:pt x="82" y="22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5" name="Freeform 795">
              <a:extLst>
                <a:ext uri="{FF2B5EF4-FFF2-40B4-BE49-F238E27FC236}">
                  <a16:creationId xmlns:a16="http://schemas.microsoft.com/office/drawing/2014/main" id="{8E4E85DC-0E8B-422E-AD99-0E75C64ABA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785" y="2767321"/>
              <a:ext cx="94431" cy="175583"/>
            </a:xfrm>
            <a:custGeom>
              <a:avLst/>
              <a:gdLst/>
              <a:ahLst/>
              <a:cxnLst>
                <a:cxn ang="0">
                  <a:pos x="4" y="119"/>
                </a:cxn>
                <a:cxn ang="0">
                  <a:pos x="0" y="119"/>
                </a:cxn>
                <a:cxn ang="0">
                  <a:pos x="0" y="0"/>
                </a:cxn>
                <a:cxn ang="0">
                  <a:pos x="64" y="0"/>
                </a:cxn>
                <a:cxn ang="0">
                  <a:pos x="64" y="40"/>
                </a:cxn>
                <a:cxn ang="0">
                  <a:pos x="60" y="40"/>
                </a:cxn>
                <a:cxn ang="0">
                  <a:pos x="60" y="4"/>
                </a:cxn>
                <a:cxn ang="0">
                  <a:pos x="4" y="4"/>
                </a:cxn>
                <a:cxn ang="0">
                  <a:pos x="4" y="119"/>
                </a:cxn>
              </a:cxnLst>
              <a:rect l="0" t="0" r="r" b="b"/>
              <a:pathLst>
                <a:path w="64" h="119">
                  <a:moveTo>
                    <a:pt x="4" y="119"/>
                  </a:moveTo>
                  <a:lnTo>
                    <a:pt x="0" y="11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"/>
                  </a:lnTo>
                  <a:lnTo>
                    <a:pt x="4" y="4"/>
                  </a:lnTo>
                  <a:lnTo>
                    <a:pt x="4" y="1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6" name="Freeform 796">
              <a:extLst>
                <a:ext uri="{FF2B5EF4-FFF2-40B4-BE49-F238E27FC236}">
                  <a16:creationId xmlns:a16="http://schemas.microsoft.com/office/drawing/2014/main" id="{0241EA10-7B27-4A12-9AD8-6C15220B9079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785" y="2767321"/>
              <a:ext cx="94431" cy="175583"/>
            </a:xfrm>
            <a:custGeom>
              <a:avLst/>
              <a:gdLst/>
              <a:ahLst/>
              <a:cxnLst>
                <a:cxn ang="0">
                  <a:pos x="4" y="119"/>
                </a:cxn>
                <a:cxn ang="0">
                  <a:pos x="0" y="119"/>
                </a:cxn>
                <a:cxn ang="0">
                  <a:pos x="0" y="0"/>
                </a:cxn>
                <a:cxn ang="0">
                  <a:pos x="64" y="0"/>
                </a:cxn>
                <a:cxn ang="0">
                  <a:pos x="64" y="40"/>
                </a:cxn>
                <a:cxn ang="0">
                  <a:pos x="60" y="40"/>
                </a:cxn>
                <a:cxn ang="0">
                  <a:pos x="60" y="4"/>
                </a:cxn>
                <a:cxn ang="0">
                  <a:pos x="4" y="4"/>
                </a:cxn>
                <a:cxn ang="0">
                  <a:pos x="4" y="119"/>
                </a:cxn>
              </a:cxnLst>
              <a:rect l="0" t="0" r="r" b="b"/>
              <a:pathLst>
                <a:path w="64" h="119">
                  <a:moveTo>
                    <a:pt x="4" y="119"/>
                  </a:moveTo>
                  <a:lnTo>
                    <a:pt x="0" y="119"/>
                  </a:lnTo>
                  <a:lnTo>
                    <a:pt x="0" y="0"/>
                  </a:lnTo>
                  <a:lnTo>
                    <a:pt x="64" y="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"/>
                  </a:lnTo>
                  <a:lnTo>
                    <a:pt x="4" y="4"/>
                  </a:lnTo>
                  <a:lnTo>
                    <a:pt x="4" y="119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7" name="Freeform 797">
              <a:extLst>
                <a:ext uri="{FF2B5EF4-FFF2-40B4-BE49-F238E27FC236}">
                  <a16:creationId xmlns:a16="http://schemas.microsoft.com/office/drawing/2014/main" id="{D49BDD10-BFE8-4BF6-8A3E-BEBABCA0910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9609" y="2823389"/>
              <a:ext cx="41314" cy="35412"/>
            </a:xfrm>
            <a:custGeom>
              <a:avLst/>
              <a:gdLst/>
              <a:ahLst/>
              <a:cxnLst>
                <a:cxn ang="0">
                  <a:pos x="1" y="12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13" y="0"/>
                </a:cxn>
                <a:cxn ang="0">
                  <a:pos x="14" y="1"/>
                </a:cxn>
                <a:cxn ang="0">
                  <a:pos x="13" y="2"/>
                </a:cxn>
                <a:cxn ang="0">
                  <a:pos x="2" y="2"/>
                </a:cxn>
                <a:cxn ang="0">
                  <a:pos x="2" y="11"/>
                </a:cxn>
                <a:cxn ang="0">
                  <a:pos x="1" y="12"/>
                </a:cxn>
              </a:cxnLst>
              <a:rect l="0" t="0" r="r" b="b"/>
              <a:pathLst>
                <a:path w="14" h="12">
                  <a:moveTo>
                    <a:pt x="1" y="12"/>
                  </a:moveTo>
                  <a:cubicBezTo>
                    <a:pt x="0" y="12"/>
                    <a:pt x="0" y="12"/>
                    <a:pt x="0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4" y="0"/>
                    <a:pt x="14" y="1"/>
                    <a:pt x="14" y="1"/>
                  </a:cubicBezTo>
                  <a:cubicBezTo>
                    <a:pt x="14" y="2"/>
                    <a:pt x="14" y="2"/>
                    <a:pt x="1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1" y="12"/>
                    <a:pt x="1" y="12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8" name="Rectangle 798">
              <a:extLst>
                <a:ext uri="{FF2B5EF4-FFF2-40B4-BE49-F238E27FC236}">
                  <a16:creationId xmlns:a16="http://schemas.microsoft.com/office/drawing/2014/main" id="{2FA60C6E-FDB4-4245-AA6B-27C972F5370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55021" y="2829291"/>
              <a:ext cx="5902" cy="2655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49" name="Rectangle 799">
              <a:extLst>
                <a:ext uri="{FF2B5EF4-FFF2-40B4-BE49-F238E27FC236}">
                  <a16:creationId xmlns:a16="http://schemas.microsoft.com/office/drawing/2014/main" id="{036DCC67-7E04-47C1-85F1-17F969684E8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55021" y="2829291"/>
              <a:ext cx="5902" cy="265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0" name="Rectangle 800">
              <a:extLst>
                <a:ext uri="{FF2B5EF4-FFF2-40B4-BE49-F238E27FC236}">
                  <a16:creationId xmlns:a16="http://schemas.microsoft.com/office/drawing/2014/main" id="{3460BB84-45C3-4156-B5E4-EAD94013E47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10756" y="2672890"/>
              <a:ext cx="2951" cy="64922"/>
            </a:xfrm>
            <a:prstGeom prst="rect">
              <a:avLst/>
            </a:prstGeom>
            <a:solidFill>
              <a:srgbClr val="C4DEE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1" name="Rectangle 801">
              <a:extLst>
                <a:ext uri="{FF2B5EF4-FFF2-40B4-BE49-F238E27FC236}">
                  <a16:creationId xmlns:a16="http://schemas.microsoft.com/office/drawing/2014/main" id="{997E39B2-0399-45EB-8896-C8ABB9F7544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10756" y="2672890"/>
              <a:ext cx="2951" cy="649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2" name="Rectangle 802">
              <a:extLst>
                <a:ext uri="{FF2B5EF4-FFF2-40B4-BE49-F238E27FC236}">
                  <a16:creationId xmlns:a16="http://schemas.microsoft.com/office/drawing/2014/main" id="{6B9F1475-C1DA-4870-B99F-559E1612B2E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10756" y="2743713"/>
              <a:ext cx="2951" cy="23608"/>
            </a:xfrm>
            <a:prstGeom prst="rect">
              <a:avLst/>
            </a:prstGeom>
            <a:solidFill>
              <a:srgbClr val="C4DEE9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3" name="Rectangle 803">
              <a:extLst>
                <a:ext uri="{FF2B5EF4-FFF2-40B4-BE49-F238E27FC236}">
                  <a16:creationId xmlns:a16="http://schemas.microsoft.com/office/drawing/2014/main" id="{03610073-C011-435F-9043-3BF85F8631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710756" y="2743713"/>
              <a:ext cx="2951" cy="236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4" name="Freeform 804">
              <a:extLst>
                <a:ext uri="{FF2B5EF4-FFF2-40B4-BE49-F238E27FC236}">
                  <a16:creationId xmlns:a16="http://schemas.microsoft.com/office/drawing/2014/main" id="{6B9F2421-F22C-43DC-B2B9-DE656B3E69E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2883" y="2761419"/>
              <a:ext cx="5902" cy="17706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0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2" y="6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5" name="Freeform 805">
              <a:extLst>
                <a:ext uri="{FF2B5EF4-FFF2-40B4-BE49-F238E27FC236}">
                  <a16:creationId xmlns:a16="http://schemas.microsoft.com/office/drawing/2014/main" id="{65822CC2-2986-45F2-A89B-73D62A3150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54688" y="2761419"/>
              <a:ext cx="5902" cy="17706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2" y="4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2" h="6">
                  <a:moveTo>
                    <a:pt x="2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2" y="5"/>
                    <a:pt x="2" y="4"/>
                  </a:cubicBezTo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6" name="Freeform 806">
              <a:extLst>
                <a:ext uri="{FF2B5EF4-FFF2-40B4-BE49-F238E27FC236}">
                  <a16:creationId xmlns:a16="http://schemas.microsoft.com/office/drawing/2014/main" id="{28FAA71E-E384-4704-837E-A1CBCB13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7972" y="2761419"/>
              <a:ext cx="17706" cy="17706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  <a:cxn ang="0">
                  <a:pos x="3" y="6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5" y="6"/>
                    <a:pt x="6" y="5"/>
                    <a:pt x="6" y="3"/>
                  </a:cubicBezTo>
                  <a:cubicBezTo>
                    <a:pt x="6" y="2"/>
                    <a:pt x="5" y="0"/>
                    <a:pt x="4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7" name="Freeform 807">
              <a:extLst>
                <a:ext uri="{FF2B5EF4-FFF2-40B4-BE49-F238E27FC236}">
                  <a16:creationId xmlns:a16="http://schemas.microsoft.com/office/drawing/2014/main" id="{E59D1703-47F9-448E-ACC1-D1D3AF4C2EA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3707" y="2846998"/>
              <a:ext cx="17706" cy="2065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  <a:cxn ang="0">
                  <a:pos x="3" y="7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0" y="5"/>
                    <a:pt x="1" y="7"/>
                    <a:pt x="3" y="7"/>
                  </a:cubicBezTo>
                  <a:cubicBezTo>
                    <a:pt x="5" y="7"/>
                    <a:pt x="6" y="5"/>
                    <a:pt x="6" y="3"/>
                  </a:cubicBezTo>
                  <a:cubicBezTo>
                    <a:pt x="6" y="2"/>
                    <a:pt x="5" y="1"/>
                    <a:pt x="4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2" y="4"/>
                    <a:pt x="2" y="4"/>
                    <a:pt x="2" y="3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8" name="Freeform 808">
              <a:extLst>
                <a:ext uri="{FF2B5EF4-FFF2-40B4-BE49-F238E27FC236}">
                  <a16:creationId xmlns:a16="http://schemas.microsoft.com/office/drawing/2014/main" id="{7A87CE84-19DF-4DA2-BC3E-A149AFB5D872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9119" y="2846998"/>
              <a:ext cx="17706" cy="2065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  <a:cxn ang="0">
                  <a:pos x="3" y="7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2" y="0"/>
                </a:cxn>
              </a:cxnLst>
              <a:rect l="0" t="0" r="r" b="b"/>
              <a:pathLst>
                <a:path w="6" h="7">
                  <a:moveTo>
                    <a:pt x="2" y="0"/>
                  </a:moveTo>
                  <a:cubicBezTo>
                    <a:pt x="1" y="1"/>
                    <a:pt x="0" y="2"/>
                    <a:pt x="0" y="3"/>
                  </a:cubicBezTo>
                  <a:cubicBezTo>
                    <a:pt x="0" y="5"/>
                    <a:pt x="1" y="7"/>
                    <a:pt x="3" y="7"/>
                  </a:cubicBezTo>
                  <a:cubicBezTo>
                    <a:pt x="5" y="7"/>
                    <a:pt x="6" y="5"/>
                    <a:pt x="6" y="3"/>
                  </a:cubicBezTo>
                  <a:cubicBezTo>
                    <a:pt x="6" y="2"/>
                    <a:pt x="5" y="1"/>
                    <a:pt x="4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59" name="Freeform 809">
              <a:extLst>
                <a:ext uri="{FF2B5EF4-FFF2-40B4-BE49-F238E27FC236}">
                  <a16:creationId xmlns:a16="http://schemas.microsoft.com/office/drawing/2014/main" id="{205D022D-BEDA-451A-AA69-A6DEBED513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2883" y="2817487"/>
              <a:ext cx="5902" cy="17706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0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0" name="Freeform 810">
              <a:extLst>
                <a:ext uri="{FF2B5EF4-FFF2-40B4-BE49-F238E27FC236}">
                  <a16:creationId xmlns:a16="http://schemas.microsoft.com/office/drawing/2014/main" id="{64F4C286-667A-4584-B977-46DF701D68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54688" y="2817487"/>
              <a:ext cx="5902" cy="1770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0" y="0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2" y="4"/>
                    <a:pt x="2" y="3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1" name="Freeform 811">
              <a:extLst>
                <a:ext uri="{FF2B5EF4-FFF2-40B4-BE49-F238E27FC236}">
                  <a16:creationId xmlns:a16="http://schemas.microsoft.com/office/drawing/2014/main" id="{53969BC6-7736-413B-A99D-18CEF5594749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2883" y="2873557"/>
              <a:ext cx="5902" cy="1918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  <a:cxn ang="0">
                  <a:pos x="2" y="6"/>
                </a:cxn>
                <a:cxn ang="0">
                  <a:pos x="2" y="0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2" y="6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2" name="Freeform 812">
              <a:extLst>
                <a:ext uri="{FF2B5EF4-FFF2-40B4-BE49-F238E27FC236}">
                  <a16:creationId xmlns:a16="http://schemas.microsoft.com/office/drawing/2014/main" id="{FD38089C-0991-4191-8E25-537240AF25C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54688" y="2873557"/>
              <a:ext cx="5902" cy="1918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2" y="3"/>
                </a:cxn>
                <a:cxn ang="0">
                  <a:pos x="0" y="0"/>
                </a:cxn>
              </a:cxnLst>
              <a:rect l="0" t="0" r="r" b="b"/>
              <a:pathLst>
                <a:path w="2" h="6">
                  <a:moveTo>
                    <a:pt x="0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2" y="4"/>
                    <a:pt x="2" y="3"/>
                  </a:cubicBezTo>
                  <a:cubicBezTo>
                    <a:pt x="2" y="1"/>
                    <a:pt x="1" y="0"/>
                    <a:pt x="0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3" name="Freeform 813">
              <a:extLst>
                <a:ext uri="{FF2B5EF4-FFF2-40B4-BE49-F238E27FC236}">
                  <a16:creationId xmlns:a16="http://schemas.microsoft.com/office/drawing/2014/main" id="{D17D53F5-5D07-4E03-8DE6-353F6CD4E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2883" y="2931100"/>
              <a:ext cx="17706" cy="17706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3"/>
                </a:cxn>
                <a:cxn ang="0">
                  <a:pos x="3" y="6"/>
                </a:cxn>
                <a:cxn ang="0">
                  <a:pos x="6" y="3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2" y="4"/>
                </a:cxn>
                <a:cxn ang="0">
                  <a:pos x="2" y="0"/>
                </a:cxn>
              </a:cxnLst>
              <a:rect l="0" t="0" r="r" b="b"/>
              <a:pathLst>
                <a:path w="6" h="6">
                  <a:moveTo>
                    <a:pt x="2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5" y="6"/>
                    <a:pt x="6" y="4"/>
                    <a:pt x="6" y="3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0"/>
                    <a:pt x="2" y="0"/>
                    <a:pt x="2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4" name="Freeform 814">
              <a:extLst>
                <a:ext uri="{FF2B5EF4-FFF2-40B4-BE49-F238E27FC236}">
                  <a16:creationId xmlns:a16="http://schemas.microsoft.com/office/drawing/2014/main" id="{9CEA42F6-D01C-4687-8F99-73D83B5969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785" y="2737811"/>
              <a:ext cx="120990" cy="32461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4"/>
                </a:cxn>
                <a:cxn ang="0">
                  <a:pos x="78" y="4"/>
                </a:cxn>
                <a:cxn ang="0">
                  <a:pos x="78" y="22"/>
                </a:cxn>
                <a:cxn ang="0">
                  <a:pos x="82" y="22"/>
                </a:cxn>
                <a:cxn ang="0">
                  <a:pos x="82" y="0"/>
                </a:cxn>
              </a:cxnLst>
              <a:rect l="0" t="0" r="r" b="b"/>
              <a:pathLst>
                <a:path w="82" h="22">
                  <a:moveTo>
                    <a:pt x="82" y="0"/>
                  </a:moveTo>
                  <a:lnTo>
                    <a:pt x="44" y="0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4"/>
                  </a:lnTo>
                  <a:lnTo>
                    <a:pt x="78" y="4"/>
                  </a:lnTo>
                  <a:lnTo>
                    <a:pt x="78" y="22"/>
                  </a:lnTo>
                  <a:lnTo>
                    <a:pt x="82" y="22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5" name="Freeform 815">
              <a:extLst>
                <a:ext uri="{FF2B5EF4-FFF2-40B4-BE49-F238E27FC236}">
                  <a16:creationId xmlns:a16="http://schemas.microsoft.com/office/drawing/2014/main" id="{2500AF85-FE4C-4B20-8BDD-ABD96F04B4C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785" y="2737811"/>
              <a:ext cx="120990" cy="32461"/>
            </a:xfrm>
            <a:custGeom>
              <a:avLst/>
              <a:gdLst/>
              <a:ahLst/>
              <a:cxnLst>
                <a:cxn ang="0">
                  <a:pos x="82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4"/>
                </a:cxn>
                <a:cxn ang="0">
                  <a:pos x="78" y="4"/>
                </a:cxn>
                <a:cxn ang="0">
                  <a:pos x="78" y="22"/>
                </a:cxn>
                <a:cxn ang="0">
                  <a:pos x="82" y="22"/>
                </a:cxn>
                <a:cxn ang="0">
                  <a:pos x="82" y="0"/>
                </a:cxn>
              </a:cxnLst>
              <a:rect l="0" t="0" r="r" b="b"/>
              <a:pathLst>
                <a:path w="82" h="22">
                  <a:moveTo>
                    <a:pt x="82" y="0"/>
                  </a:moveTo>
                  <a:lnTo>
                    <a:pt x="44" y="0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4"/>
                  </a:lnTo>
                  <a:lnTo>
                    <a:pt x="78" y="4"/>
                  </a:lnTo>
                  <a:lnTo>
                    <a:pt x="78" y="22"/>
                  </a:lnTo>
                  <a:lnTo>
                    <a:pt x="82" y="22"/>
                  </a:lnTo>
                  <a:lnTo>
                    <a:pt x="82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6" name="Freeform 816">
              <a:extLst>
                <a:ext uri="{FF2B5EF4-FFF2-40B4-BE49-F238E27FC236}">
                  <a16:creationId xmlns:a16="http://schemas.microsoft.com/office/drawing/2014/main" id="{E2C92349-C31F-4874-A6D7-F66B980766B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785" y="2767321"/>
              <a:ext cx="94431" cy="175583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19"/>
                </a:cxn>
                <a:cxn ang="0">
                  <a:pos x="4" y="119"/>
                </a:cxn>
                <a:cxn ang="0">
                  <a:pos x="4" y="111"/>
                </a:cxn>
                <a:cxn ang="0">
                  <a:pos x="4" y="85"/>
                </a:cxn>
                <a:cxn ang="0">
                  <a:pos x="4" y="72"/>
                </a:cxn>
                <a:cxn ang="0">
                  <a:pos x="4" y="46"/>
                </a:cxn>
                <a:cxn ang="0">
                  <a:pos x="4" y="34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60" y="4"/>
                </a:cxn>
                <a:cxn ang="0">
                  <a:pos x="60" y="38"/>
                </a:cxn>
                <a:cxn ang="0">
                  <a:pos x="64" y="38"/>
                </a:cxn>
                <a:cxn ang="0">
                  <a:pos x="64" y="0"/>
                </a:cxn>
              </a:cxnLst>
              <a:rect l="0" t="0" r="r" b="b"/>
              <a:pathLst>
                <a:path w="64" h="119">
                  <a:moveTo>
                    <a:pt x="64" y="0"/>
                  </a:moveTo>
                  <a:lnTo>
                    <a:pt x="44" y="0"/>
                  </a:lnTo>
                  <a:lnTo>
                    <a:pt x="4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9"/>
                  </a:lnTo>
                  <a:lnTo>
                    <a:pt x="4" y="119"/>
                  </a:lnTo>
                  <a:lnTo>
                    <a:pt x="4" y="111"/>
                  </a:lnTo>
                  <a:lnTo>
                    <a:pt x="4" y="85"/>
                  </a:lnTo>
                  <a:lnTo>
                    <a:pt x="4" y="72"/>
                  </a:lnTo>
                  <a:lnTo>
                    <a:pt x="4" y="46"/>
                  </a:lnTo>
                  <a:lnTo>
                    <a:pt x="4" y="3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60" y="4"/>
                  </a:lnTo>
                  <a:lnTo>
                    <a:pt x="60" y="38"/>
                  </a:lnTo>
                  <a:lnTo>
                    <a:pt x="64" y="38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7" name="Freeform 817">
              <a:extLst>
                <a:ext uri="{FF2B5EF4-FFF2-40B4-BE49-F238E27FC236}">
                  <a16:creationId xmlns:a16="http://schemas.microsoft.com/office/drawing/2014/main" id="{8F988AE0-A680-467A-9DC9-7809D872395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785" y="2767321"/>
              <a:ext cx="94431" cy="175583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8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19"/>
                </a:cxn>
                <a:cxn ang="0">
                  <a:pos x="4" y="119"/>
                </a:cxn>
                <a:cxn ang="0">
                  <a:pos x="4" y="111"/>
                </a:cxn>
                <a:cxn ang="0">
                  <a:pos x="4" y="85"/>
                </a:cxn>
                <a:cxn ang="0">
                  <a:pos x="4" y="72"/>
                </a:cxn>
                <a:cxn ang="0">
                  <a:pos x="4" y="46"/>
                </a:cxn>
                <a:cxn ang="0">
                  <a:pos x="4" y="34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60" y="4"/>
                </a:cxn>
                <a:cxn ang="0">
                  <a:pos x="60" y="38"/>
                </a:cxn>
                <a:cxn ang="0">
                  <a:pos x="64" y="38"/>
                </a:cxn>
                <a:cxn ang="0">
                  <a:pos x="64" y="0"/>
                </a:cxn>
              </a:cxnLst>
              <a:rect l="0" t="0" r="r" b="b"/>
              <a:pathLst>
                <a:path w="64" h="119">
                  <a:moveTo>
                    <a:pt x="64" y="0"/>
                  </a:moveTo>
                  <a:lnTo>
                    <a:pt x="44" y="0"/>
                  </a:lnTo>
                  <a:lnTo>
                    <a:pt x="42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9"/>
                  </a:lnTo>
                  <a:lnTo>
                    <a:pt x="4" y="119"/>
                  </a:lnTo>
                  <a:lnTo>
                    <a:pt x="4" y="111"/>
                  </a:lnTo>
                  <a:lnTo>
                    <a:pt x="4" y="85"/>
                  </a:lnTo>
                  <a:lnTo>
                    <a:pt x="4" y="72"/>
                  </a:lnTo>
                  <a:lnTo>
                    <a:pt x="4" y="46"/>
                  </a:lnTo>
                  <a:lnTo>
                    <a:pt x="4" y="3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60" y="4"/>
                  </a:lnTo>
                  <a:lnTo>
                    <a:pt x="60" y="38"/>
                  </a:lnTo>
                  <a:lnTo>
                    <a:pt x="64" y="38"/>
                  </a:lnTo>
                  <a:lnTo>
                    <a:pt x="6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8" name="Freeform 818">
              <a:extLst>
                <a:ext uri="{FF2B5EF4-FFF2-40B4-BE49-F238E27FC236}">
                  <a16:creationId xmlns:a16="http://schemas.microsoft.com/office/drawing/2014/main" id="{BDA089FF-36A5-491B-BA52-2C903E1F8E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9609" y="2823389"/>
              <a:ext cx="41314" cy="35412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1" y="12"/>
                </a:cxn>
                <a:cxn ang="0">
                  <a:pos x="2" y="11"/>
                </a:cxn>
                <a:cxn ang="0">
                  <a:pos x="2" y="8"/>
                </a:cxn>
                <a:cxn ang="0">
                  <a:pos x="2" y="2"/>
                </a:cxn>
                <a:cxn ang="0">
                  <a:pos x="12" y="2"/>
                </a:cxn>
                <a:cxn ang="0">
                  <a:pos x="12" y="2"/>
                </a:cxn>
                <a:cxn ang="0">
                  <a:pos x="14" y="2"/>
                </a:cxn>
                <a:cxn ang="0">
                  <a:pos x="14" y="1"/>
                </a:cxn>
                <a:cxn ang="0">
                  <a:pos x="13" y="0"/>
                </a:cxn>
              </a:cxnLst>
              <a:rect l="0" t="0" r="r" b="b"/>
              <a:pathLst>
                <a:path w="14" h="12">
                  <a:moveTo>
                    <a:pt x="13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0" y="12"/>
                    <a:pt x="1" y="12"/>
                  </a:cubicBezTo>
                  <a:cubicBezTo>
                    <a:pt x="1" y="12"/>
                    <a:pt x="2" y="12"/>
                    <a:pt x="2" y="1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4" y="1"/>
                    <a:pt x="14" y="0"/>
                    <a:pt x="13" y="0"/>
                  </a:cubicBezTo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69" name="Freeform 819">
              <a:extLst>
                <a:ext uri="{FF2B5EF4-FFF2-40B4-BE49-F238E27FC236}">
                  <a16:creationId xmlns:a16="http://schemas.microsoft.com/office/drawing/2014/main" id="{79742C51-7B14-40D8-8C55-9656961D08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5021" y="2829291"/>
              <a:ext cx="5902" cy="2655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18"/>
                </a:cxn>
                <a:cxn ang="0">
                  <a:pos x="4" y="18"/>
                </a:cxn>
                <a:cxn ang="0">
                  <a:pos x="4" y="12"/>
                </a:cxn>
                <a:cxn ang="0">
                  <a:pos x="4" y="0"/>
                </a:cxn>
              </a:cxnLst>
              <a:rect l="0" t="0" r="r" b="b"/>
              <a:pathLst>
                <a:path w="4" h="18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2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4DEE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0" name="Freeform 820">
              <a:extLst>
                <a:ext uri="{FF2B5EF4-FFF2-40B4-BE49-F238E27FC236}">
                  <a16:creationId xmlns:a16="http://schemas.microsoft.com/office/drawing/2014/main" id="{B0D63C69-029D-4DE4-B5A5-F31F8A88028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5021" y="2829291"/>
              <a:ext cx="5902" cy="2655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18"/>
                </a:cxn>
                <a:cxn ang="0">
                  <a:pos x="4" y="18"/>
                </a:cxn>
                <a:cxn ang="0">
                  <a:pos x="4" y="12"/>
                </a:cxn>
                <a:cxn ang="0">
                  <a:pos x="4" y="0"/>
                </a:cxn>
              </a:cxnLst>
              <a:rect l="0" t="0" r="r" b="b"/>
              <a:pathLst>
                <a:path w="4" h="18">
                  <a:moveTo>
                    <a:pt x="4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12"/>
                  </a:lnTo>
                  <a:lnTo>
                    <a:pt x="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1" name="Freeform 821">
              <a:extLst>
                <a:ext uri="{FF2B5EF4-FFF2-40B4-BE49-F238E27FC236}">
                  <a16:creationId xmlns:a16="http://schemas.microsoft.com/office/drawing/2014/main" id="{F6191237-4028-4294-8FA5-D1A55A610E91}"/>
                </a:ext>
              </a:extLst>
            </p:cNvPr>
            <p:cNvSpPr>
              <a:spLocks/>
            </p:cNvSpPr>
            <p:nvPr/>
          </p:nvSpPr>
          <p:spPr bwMode="gray">
            <a:xfrm>
              <a:off x="5498286" y="2631576"/>
              <a:ext cx="218372" cy="44265"/>
            </a:xfrm>
            <a:custGeom>
              <a:avLst/>
              <a:gdLst/>
              <a:ahLst/>
              <a:cxnLst>
                <a:cxn ang="0">
                  <a:pos x="76" y="26"/>
                </a:cxn>
                <a:cxn ang="0">
                  <a:pos x="76" y="16"/>
                </a:cxn>
                <a:cxn ang="0">
                  <a:pos x="82" y="16"/>
                </a:cxn>
                <a:cxn ang="0">
                  <a:pos x="82" y="14"/>
                </a:cxn>
                <a:cxn ang="0">
                  <a:pos x="68" y="14"/>
                </a:cxn>
                <a:cxn ang="0">
                  <a:pos x="68" y="16"/>
                </a:cxn>
                <a:cxn ang="0">
                  <a:pos x="74" y="16"/>
                </a:cxn>
                <a:cxn ang="0">
                  <a:pos x="74" y="26"/>
                </a:cxn>
                <a:cxn ang="0">
                  <a:pos x="58" y="26"/>
                </a:cxn>
                <a:cxn ang="0">
                  <a:pos x="58" y="4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4" y="4"/>
                </a:cxn>
                <a:cxn ang="0">
                  <a:pos x="54" y="26"/>
                </a:cxn>
                <a:cxn ang="0">
                  <a:pos x="26" y="26"/>
                </a:cxn>
                <a:cxn ang="0">
                  <a:pos x="26" y="4"/>
                </a:cxn>
                <a:cxn ang="0">
                  <a:pos x="34" y="4"/>
                </a:cxn>
                <a:cxn ang="0">
                  <a:pos x="34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4" y="4"/>
                </a:cxn>
                <a:cxn ang="0">
                  <a:pos x="24" y="26"/>
                </a:cxn>
                <a:cxn ang="0">
                  <a:pos x="0" y="26"/>
                </a:cxn>
                <a:cxn ang="0">
                  <a:pos x="0" y="30"/>
                </a:cxn>
                <a:cxn ang="0">
                  <a:pos x="148" y="30"/>
                </a:cxn>
                <a:cxn ang="0">
                  <a:pos x="148" y="26"/>
                </a:cxn>
                <a:cxn ang="0">
                  <a:pos x="76" y="26"/>
                </a:cxn>
              </a:cxnLst>
              <a:rect l="0" t="0" r="r" b="b"/>
              <a:pathLst>
                <a:path w="148" h="30">
                  <a:moveTo>
                    <a:pt x="76" y="26"/>
                  </a:moveTo>
                  <a:lnTo>
                    <a:pt x="76" y="16"/>
                  </a:lnTo>
                  <a:lnTo>
                    <a:pt x="82" y="16"/>
                  </a:lnTo>
                  <a:lnTo>
                    <a:pt x="82" y="14"/>
                  </a:lnTo>
                  <a:lnTo>
                    <a:pt x="68" y="14"/>
                  </a:lnTo>
                  <a:lnTo>
                    <a:pt x="68" y="16"/>
                  </a:lnTo>
                  <a:lnTo>
                    <a:pt x="74" y="16"/>
                  </a:lnTo>
                  <a:lnTo>
                    <a:pt x="74" y="26"/>
                  </a:lnTo>
                  <a:lnTo>
                    <a:pt x="58" y="26"/>
                  </a:lnTo>
                  <a:lnTo>
                    <a:pt x="58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4" y="4"/>
                  </a:lnTo>
                  <a:lnTo>
                    <a:pt x="54" y="26"/>
                  </a:lnTo>
                  <a:lnTo>
                    <a:pt x="26" y="26"/>
                  </a:lnTo>
                  <a:lnTo>
                    <a:pt x="26" y="4"/>
                  </a:lnTo>
                  <a:lnTo>
                    <a:pt x="34" y="4"/>
                  </a:lnTo>
                  <a:lnTo>
                    <a:pt x="34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4" y="4"/>
                  </a:lnTo>
                  <a:lnTo>
                    <a:pt x="24" y="26"/>
                  </a:lnTo>
                  <a:lnTo>
                    <a:pt x="0" y="26"/>
                  </a:lnTo>
                  <a:lnTo>
                    <a:pt x="0" y="30"/>
                  </a:lnTo>
                  <a:lnTo>
                    <a:pt x="148" y="30"/>
                  </a:lnTo>
                  <a:lnTo>
                    <a:pt x="148" y="26"/>
                  </a:lnTo>
                  <a:lnTo>
                    <a:pt x="76" y="26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2" name="Rectangle 823">
              <a:extLst>
                <a:ext uri="{FF2B5EF4-FFF2-40B4-BE49-F238E27FC236}">
                  <a16:creationId xmlns:a16="http://schemas.microsoft.com/office/drawing/2014/main" id="{DE6695C4-A148-4294-A384-038917E57F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66491" y="2823389"/>
              <a:ext cx="35412" cy="590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3" name="Rectangle 824">
              <a:extLst>
                <a:ext uri="{FF2B5EF4-FFF2-40B4-BE49-F238E27FC236}">
                  <a16:creationId xmlns:a16="http://schemas.microsoft.com/office/drawing/2014/main" id="{88DD1979-3768-47AD-99C6-5E96E7E3D7F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66491" y="2879458"/>
              <a:ext cx="35412" cy="737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4" name="Rectangle 825">
              <a:extLst>
                <a:ext uri="{FF2B5EF4-FFF2-40B4-BE49-F238E27FC236}">
                  <a16:creationId xmlns:a16="http://schemas.microsoft.com/office/drawing/2014/main" id="{4156BCAE-6ABF-45CB-9BC7-886D4652CF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666491" y="2937002"/>
              <a:ext cx="35412" cy="590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5" name="Rectangle 826">
              <a:extLst>
                <a:ext uri="{FF2B5EF4-FFF2-40B4-BE49-F238E27FC236}">
                  <a16:creationId xmlns:a16="http://schemas.microsoft.com/office/drawing/2014/main" id="{13331115-C397-4E3B-A491-ABB00ED5BB4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98618" y="2767321"/>
              <a:ext cx="32461" cy="590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6" name="Rectangle 827">
              <a:extLst>
                <a:ext uri="{FF2B5EF4-FFF2-40B4-BE49-F238E27FC236}">
                  <a16:creationId xmlns:a16="http://schemas.microsoft.com/office/drawing/2014/main" id="{7D216B47-984A-4C3C-807D-CED92E332F8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24844" y="2711252"/>
              <a:ext cx="35412" cy="590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7" name="Rectangle 828">
              <a:extLst>
                <a:ext uri="{FF2B5EF4-FFF2-40B4-BE49-F238E27FC236}">
                  <a16:creationId xmlns:a16="http://schemas.microsoft.com/office/drawing/2014/main" id="{2C8AC3DF-4045-4702-9741-F75A2877F4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24844" y="2755516"/>
              <a:ext cx="35412" cy="590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8" name="Rectangle 829">
              <a:extLst>
                <a:ext uri="{FF2B5EF4-FFF2-40B4-BE49-F238E27FC236}">
                  <a16:creationId xmlns:a16="http://schemas.microsoft.com/office/drawing/2014/main" id="{36CE26C4-43A8-4636-8A2C-4B77D81D12C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24844" y="2799781"/>
              <a:ext cx="35412" cy="590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79" name="Rectangle 830">
              <a:extLst>
                <a:ext uri="{FF2B5EF4-FFF2-40B4-BE49-F238E27FC236}">
                  <a16:creationId xmlns:a16="http://schemas.microsoft.com/office/drawing/2014/main" id="{6A718C17-5026-4132-8ED6-D7F74602478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75010" y="2844047"/>
              <a:ext cx="32461" cy="5902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0" name="Rectangle 831">
              <a:extLst>
                <a:ext uri="{FF2B5EF4-FFF2-40B4-BE49-F238E27FC236}">
                  <a16:creationId xmlns:a16="http://schemas.microsoft.com/office/drawing/2014/main" id="{080BACBA-9D42-4D55-ABB0-4FCAD12FEBE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575010" y="2889786"/>
              <a:ext cx="32461" cy="8853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1" name="Freeform 832">
              <a:extLst>
                <a:ext uri="{FF2B5EF4-FFF2-40B4-BE49-F238E27FC236}">
                  <a16:creationId xmlns:a16="http://schemas.microsoft.com/office/drawing/2014/main" id="{FF2817A1-2138-4828-85BA-C47D434C395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3550" y="2844047"/>
              <a:ext cx="153451" cy="15787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0" y="27"/>
                </a:cxn>
                <a:cxn ang="0">
                  <a:pos x="26" y="53"/>
                </a:cxn>
                <a:cxn ang="0">
                  <a:pos x="52" y="27"/>
                </a:cxn>
                <a:cxn ang="0">
                  <a:pos x="26" y="27"/>
                </a:cxn>
                <a:cxn ang="0">
                  <a:pos x="26" y="0"/>
                </a:cxn>
              </a:cxnLst>
              <a:rect l="0" t="0" r="r" b="b"/>
              <a:pathLst>
                <a:path w="52" h="53">
                  <a:moveTo>
                    <a:pt x="26" y="0"/>
                  </a:moveTo>
                  <a:cubicBezTo>
                    <a:pt x="11" y="0"/>
                    <a:pt x="0" y="12"/>
                    <a:pt x="0" y="27"/>
                  </a:cubicBezTo>
                  <a:cubicBezTo>
                    <a:pt x="0" y="41"/>
                    <a:pt x="11" y="53"/>
                    <a:pt x="26" y="53"/>
                  </a:cubicBezTo>
                  <a:cubicBezTo>
                    <a:pt x="40" y="53"/>
                    <a:pt x="52" y="41"/>
                    <a:pt x="52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2" name="Freeform 833">
              <a:extLst>
                <a:ext uri="{FF2B5EF4-FFF2-40B4-BE49-F238E27FC236}">
                  <a16:creationId xmlns:a16="http://schemas.microsoft.com/office/drawing/2014/main" id="{3BACEFBB-3E75-4621-A0F0-02B59E415A28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0275" y="2925198"/>
              <a:ext cx="76726" cy="6492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22"/>
                </a:cxn>
                <a:cxn ang="0">
                  <a:pos x="26" y="0"/>
                </a:cxn>
                <a:cxn ang="0">
                  <a:pos x="0" y="0"/>
                </a:cxn>
              </a:cxnLst>
              <a:rect l="0" t="0" r="r" b="b"/>
              <a:pathLst>
                <a:path w="26" h="22">
                  <a:moveTo>
                    <a:pt x="0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22" y="17"/>
                    <a:pt x="26" y="8"/>
                    <a:pt x="26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3BA4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3" name="Freeform 834">
              <a:extLst>
                <a:ext uri="{FF2B5EF4-FFF2-40B4-BE49-F238E27FC236}">
                  <a16:creationId xmlns:a16="http://schemas.microsoft.com/office/drawing/2014/main" id="{9D7552D1-04FE-4292-BF5D-DDA48DB1856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0275" y="2844047"/>
              <a:ext cx="64922" cy="8115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7"/>
                </a:cxn>
                <a:cxn ang="0">
                  <a:pos x="22" y="12"/>
                </a:cxn>
                <a:cxn ang="0">
                  <a:pos x="0" y="0"/>
                </a:cxn>
              </a:cxnLst>
              <a:rect l="0" t="0" r="r" b="b"/>
              <a:pathLst>
                <a:path w="22" h="27">
                  <a:moveTo>
                    <a:pt x="0" y="0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17" y="5"/>
                    <a:pt x="9" y="0"/>
                    <a:pt x="0" y="0"/>
                  </a:cubicBezTo>
                </a:path>
              </a:pathLst>
            </a:custGeom>
            <a:solidFill>
              <a:srgbClr val="41AA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4" name="Freeform 835">
              <a:extLst>
                <a:ext uri="{FF2B5EF4-FFF2-40B4-BE49-F238E27FC236}">
                  <a16:creationId xmlns:a16="http://schemas.microsoft.com/office/drawing/2014/main" id="{7D008005-E701-4E10-8415-9D86CE1EE30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0275" y="2879458"/>
              <a:ext cx="76726" cy="45741"/>
            </a:xfrm>
            <a:custGeom>
              <a:avLst/>
              <a:gdLst/>
              <a:ahLst/>
              <a:cxnLst>
                <a:cxn ang="0">
                  <a:pos x="52" y="29"/>
                </a:cxn>
                <a:cxn ang="0">
                  <a:pos x="52" y="27"/>
                </a:cxn>
                <a:cxn ang="0">
                  <a:pos x="52" y="27"/>
                </a:cxn>
                <a:cxn ang="0">
                  <a:pos x="52" y="25"/>
                </a:cxn>
                <a:cxn ang="0">
                  <a:pos x="52" y="25"/>
                </a:cxn>
                <a:cxn ang="0">
                  <a:pos x="52" y="23"/>
                </a:cxn>
                <a:cxn ang="0">
                  <a:pos x="52" y="21"/>
                </a:cxn>
                <a:cxn ang="0">
                  <a:pos x="52" y="19"/>
                </a:cxn>
                <a:cxn ang="0">
                  <a:pos x="52" y="19"/>
                </a:cxn>
                <a:cxn ang="0">
                  <a:pos x="52" y="17"/>
                </a:cxn>
                <a:cxn ang="0">
                  <a:pos x="50" y="17"/>
                </a:cxn>
                <a:cxn ang="0">
                  <a:pos x="50" y="15"/>
                </a:cxn>
                <a:cxn ang="0">
                  <a:pos x="50" y="13"/>
                </a:cxn>
                <a:cxn ang="0">
                  <a:pos x="50" y="13"/>
                </a:cxn>
                <a:cxn ang="0">
                  <a:pos x="50" y="11"/>
                </a:cxn>
                <a:cxn ang="0">
                  <a:pos x="48" y="11"/>
                </a:cxn>
                <a:cxn ang="0">
                  <a:pos x="48" y="9"/>
                </a:cxn>
                <a:cxn ang="0">
                  <a:pos x="48" y="9"/>
                </a:cxn>
                <a:cxn ang="0">
                  <a:pos x="46" y="7"/>
                </a:cxn>
                <a:cxn ang="0">
                  <a:pos x="46" y="5"/>
                </a:cxn>
                <a:cxn ang="0">
                  <a:pos x="46" y="5"/>
                </a:cxn>
                <a:cxn ang="0">
                  <a:pos x="46" y="2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0" y="31"/>
                </a:cxn>
                <a:cxn ang="0">
                  <a:pos x="52" y="31"/>
                </a:cxn>
                <a:cxn ang="0">
                  <a:pos x="52" y="29"/>
                </a:cxn>
              </a:cxnLst>
              <a:rect l="0" t="0" r="r" b="b"/>
              <a:pathLst>
                <a:path w="52" h="31">
                  <a:moveTo>
                    <a:pt x="52" y="29"/>
                  </a:moveTo>
                  <a:lnTo>
                    <a:pt x="52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0" y="31"/>
                  </a:lnTo>
                  <a:lnTo>
                    <a:pt x="52" y="31"/>
                  </a:lnTo>
                  <a:lnTo>
                    <a:pt x="52" y="2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5" name="Freeform 836">
              <a:extLst>
                <a:ext uri="{FF2B5EF4-FFF2-40B4-BE49-F238E27FC236}">
                  <a16:creationId xmlns:a16="http://schemas.microsoft.com/office/drawing/2014/main" id="{B94C640C-D5EC-4C76-AABF-1EC1AE922F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0275" y="2879458"/>
              <a:ext cx="76726" cy="45741"/>
            </a:xfrm>
            <a:custGeom>
              <a:avLst/>
              <a:gdLst/>
              <a:ahLst/>
              <a:cxnLst>
                <a:cxn ang="0">
                  <a:pos x="52" y="29"/>
                </a:cxn>
                <a:cxn ang="0">
                  <a:pos x="52" y="27"/>
                </a:cxn>
                <a:cxn ang="0">
                  <a:pos x="52" y="27"/>
                </a:cxn>
                <a:cxn ang="0">
                  <a:pos x="52" y="25"/>
                </a:cxn>
                <a:cxn ang="0">
                  <a:pos x="52" y="25"/>
                </a:cxn>
                <a:cxn ang="0">
                  <a:pos x="52" y="23"/>
                </a:cxn>
                <a:cxn ang="0">
                  <a:pos x="52" y="21"/>
                </a:cxn>
                <a:cxn ang="0">
                  <a:pos x="52" y="19"/>
                </a:cxn>
                <a:cxn ang="0">
                  <a:pos x="52" y="19"/>
                </a:cxn>
                <a:cxn ang="0">
                  <a:pos x="52" y="17"/>
                </a:cxn>
                <a:cxn ang="0">
                  <a:pos x="50" y="17"/>
                </a:cxn>
                <a:cxn ang="0">
                  <a:pos x="50" y="15"/>
                </a:cxn>
                <a:cxn ang="0">
                  <a:pos x="50" y="13"/>
                </a:cxn>
                <a:cxn ang="0">
                  <a:pos x="50" y="13"/>
                </a:cxn>
                <a:cxn ang="0">
                  <a:pos x="50" y="11"/>
                </a:cxn>
                <a:cxn ang="0">
                  <a:pos x="48" y="11"/>
                </a:cxn>
                <a:cxn ang="0">
                  <a:pos x="48" y="9"/>
                </a:cxn>
                <a:cxn ang="0">
                  <a:pos x="48" y="9"/>
                </a:cxn>
                <a:cxn ang="0">
                  <a:pos x="46" y="7"/>
                </a:cxn>
                <a:cxn ang="0">
                  <a:pos x="46" y="5"/>
                </a:cxn>
                <a:cxn ang="0">
                  <a:pos x="46" y="5"/>
                </a:cxn>
                <a:cxn ang="0">
                  <a:pos x="46" y="2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0" y="31"/>
                </a:cxn>
                <a:cxn ang="0">
                  <a:pos x="52" y="31"/>
                </a:cxn>
                <a:cxn ang="0">
                  <a:pos x="52" y="29"/>
                </a:cxn>
              </a:cxnLst>
              <a:rect l="0" t="0" r="r" b="b"/>
              <a:pathLst>
                <a:path w="52" h="31">
                  <a:moveTo>
                    <a:pt x="52" y="29"/>
                  </a:moveTo>
                  <a:lnTo>
                    <a:pt x="52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2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0" y="31"/>
                  </a:lnTo>
                  <a:lnTo>
                    <a:pt x="52" y="31"/>
                  </a:lnTo>
                  <a:lnTo>
                    <a:pt x="52" y="29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6" name="Freeform 837">
              <a:extLst>
                <a:ext uri="{FF2B5EF4-FFF2-40B4-BE49-F238E27FC236}">
                  <a16:creationId xmlns:a16="http://schemas.microsoft.com/office/drawing/2014/main" id="{F16135F8-0134-4AD4-9DC4-78898EEFBCB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0275" y="2879458"/>
              <a:ext cx="76726" cy="45741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0" y="31"/>
                </a:cxn>
                <a:cxn ang="0">
                  <a:pos x="52" y="31"/>
                </a:cxn>
                <a:cxn ang="0">
                  <a:pos x="52" y="29"/>
                </a:cxn>
                <a:cxn ang="0">
                  <a:pos x="52" y="27"/>
                </a:cxn>
                <a:cxn ang="0">
                  <a:pos x="52" y="27"/>
                </a:cxn>
                <a:cxn ang="0">
                  <a:pos x="52" y="25"/>
                </a:cxn>
                <a:cxn ang="0">
                  <a:pos x="52" y="25"/>
                </a:cxn>
                <a:cxn ang="0">
                  <a:pos x="52" y="23"/>
                </a:cxn>
                <a:cxn ang="0">
                  <a:pos x="52" y="21"/>
                </a:cxn>
                <a:cxn ang="0">
                  <a:pos x="52" y="19"/>
                </a:cxn>
                <a:cxn ang="0">
                  <a:pos x="52" y="19"/>
                </a:cxn>
                <a:cxn ang="0">
                  <a:pos x="52" y="17"/>
                </a:cxn>
                <a:cxn ang="0">
                  <a:pos x="50" y="17"/>
                </a:cxn>
                <a:cxn ang="0">
                  <a:pos x="50" y="15"/>
                </a:cxn>
                <a:cxn ang="0">
                  <a:pos x="50" y="13"/>
                </a:cxn>
                <a:cxn ang="0">
                  <a:pos x="50" y="13"/>
                </a:cxn>
                <a:cxn ang="0">
                  <a:pos x="50" y="11"/>
                </a:cxn>
                <a:cxn ang="0">
                  <a:pos x="48" y="11"/>
                </a:cxn>
                <a:cxn ang="0">
                  <a:pos x="48" y="9"/>
                </a:cxn>
                <a:cxn ang="0">
                  <a:pos x="48" y="9"/>
                </a:cxn>
                <a:cxn ang="0">
                  <a:pos x="46" y="7"/>
                </a:cxn>
                <a:cxn ang="0">
                  <a:pos x="46" y="5"/>
                </a:cxn>
                <a:cxn ang="0">
                  <a:pos x="46" y="5"/>
                </a:cxn>
                <a:cxn ang="0">
                  <a:pos x="46" y="2"/>
                </a:cxn>
                <a:cxn ang="0">
                  <a:pos x="44" y="0"/>
                </a:cxn>
                <a:cxn ang="0">
                  <a:pos x="44" y="0"/>
                </a:cxn>
              </a:cxnLst>
              <a:rect l="0" t="0" r="r" b="b"/>
              <a:pathLst>
                <a:path w="52" h="31">
                  <a:moveTo>
                    <a:pt x="44" y="0"/>
                  </a:moveTo>
                  <a:lnTo>
                    <a:pt x="44" y="0"/>
                  </a:lnTo>
                  <a:lnTo>
                    <a:pt x="0" y="31"/>
                  </a:lnTo>
                  <a:lnTo>
                    <a:pt x="52" y="31"/>
                  </a:lnTo>
                  <a:lnTo>
                    <a:pt x="52" y="29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2B85A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7" name="Freeform 838">
              <a:extLst>
                <a:ext uri="{FF2B5EF4-FFF2-40B4-BE49-F238E27FC236}">
                  <a16:creationId xmlns:a16="http://schemas.microsoft.com/office/drawing/2014/main" id="{E4001860-72E7-4F76-AEC2-844996946F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0275" y="2879458"/>
              <a:ext cx="76726" cy="45741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4" y="0"/>
                </a:cxn>
                <a:cxn ang="0">
                  <a:pos x="0" y="31"/>
                </a:cxn>
                <a:cxn ang="0">
                  <a:pos x="52" y="31"/>
                </a:cxn>
                <a:cxn ang="0">
                  <a:pos x="52" y="29"/>
                </a:cxn>
                <a:cxn ang="0">
                  <a:pos x="52" y="27"/>
                </a:cxn>
                <a:cxn ang="0">
                  <a:pos x="52" y="27"/>
                </a:cxn>
                <a:cxn ang="0">
                  <a:pos x="52" y="25"/>
                </a:cxn>
                <a:cxn ang="0">
                  <a:pos x="52" y="25"/>
                </a:cxn>
                <a:cxn ang="0">
                  <a:pos x="52" y="23"/>
                </a:cxn>
                <a:cxn ang="0">
                  <a:pos x="52" y="21"/>
                </a:cxn>
                <a:cxn ang="0">
                  <a:pos x="52" y="19"/>
                </a:cxn>
                <a:cxn ang="0">
                  <a:pos x="52" y="19"/>
                </a:cxn>
                <a:cxn ang="0">
                  <a:pos x="52" y="17"/>
                </a:cxn>
                <a:cxn ang="0">
                  <a:pos x="50" y="17"/>
                </a:cxn>
                <a:cxn ang="0">
                  <a:pos x="50" y="15"/>
                </a:cxn>
                <a:cxn ang="0">
                  <a:pos x="50" y="13"/>
                </a:cxn>
                <a:cxn ang="0">
                  <a:pos x="50" y="13"/>
                </a:cxn>
                <a:cxn ang="0">
                  <a:pos x="50" y="11"/>
                </a:cxn>
                <a:cxn ang="0">
                  <a:pos x="48" y="11"/>
                </a:cxn>
                <a:cxn ang="0">
                  <a:pos x="48" y="9"/>
                </a:cxn>
                <a:cxn ang="0">
                  <a:pos x="48" y="9"/>
                </a:cxn>
                <a:cxn ang="0">
                  <a:pos x="46" y="7"/>
                </a:cxn>
                <a:cxn ang="0">
                  <a:pos x="46" y="5"/>
                </a:cxn>
                <a:cxn ang="0">
                  <a:pos x="46" y="5"/>
                </a:cxn>
                <a:cxn ang="0">
                  <a:pos x="46" y="2"/>
                </a:cxn>
                <a:cxn ang="0">
                  <a:pos x="44" y="0"/>
                </a:cxn>
                <a:cxn ang="0">
                  <a:pos x="44" y="0"/>
                </a:cxn>
              </a:cxnLst>
              <a:rect l="0" t="0" r="r" b="b"/>
              <a:pathLst>
                <a:path w="52" h="31">
                  <a:moveTo>
                    <a:pt x="44" y="0"/>
                  </a:moveTo>
                  <a:lnTo>
                    <a:pt x="44" y="0"/>
                  </a:lnTo>
                  <a:lnTo>
                    <a:pt x="0" y="31"/>
                  </a:lnTo>
                  <a:lnTo>
                    <a:pt x="52" y="31"/>
                  </a:lnTo>
                  <a:lnTo>
                    <a:pt x="52" y="29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2"/>
                  </a:lnTo>
                  <a:lnTo>
                    <a:pt x="44" y="0"/>
                  </a:lnTo>
                  <a:lnTo>
                    <a:pt x="44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8" name="Freeform 839">
              <a:extLst>
                <a:ext uri="{FF2B5EF4-FFF2-40B4-BE49-F238E27FC236}">
                  <a16:creationId xmlns:a16="http://schemas.microsoft.com/office/drawing/2014/main" id="{23A3468C-AB5E-4645-9E7E-158A031445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7648" y="2637477"/>
              <a:ext cx="153451" cy="153451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0" y="26"/>
                </a:cxn>
                <a:cxn ang="0">
                  <a:pos x="26" y="52"/>
                </a:cxn>
                <a:cxn ang="0">
                  <a:pos x="52" y="26"/>
                </a:cxn>
                <a:cxn ang="0">
                  <a:pos x="26" y="26"/>
                </a:cxn>
                <a:cxn ang="0">
                  <a:pos x="26" y="0"/>
                </a:cxn>
              </a:cxnLst>
              <a:rect l="0" t="0" r="r" b="b"/>
              <a:pathLst>
                <a:path w="52" h="52">
                  <a:moveTo>
                    <a:pt x="26" y="0"/>
                  </a:moveTo>
                  <a:cubicBezTo>
                    <a:pt x="11" y="0"/>
                    <a:pt x="0" y="12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cubicBezTo>
                    <a:pt x="40" y="52"/>
                    <a:pt x="52" y="41"/>
                    <a:pt x="52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0050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89" name="Freeform 840">
              <a:extLst>
                <a:ext uri="{FF2B5EF4-FFF2-40B4-BE49-F238E27FC236}">
                  <a16:creationId xmlns:a16="http://schemas.microsoft.com/office/drawing/2014/main" id="{C7F82E12-4586-4D76-810C-0472ADEBEE2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374" y="2652233"/>
              <a:ext cx="88529" cy="106236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21"/>
                </a:cxn>
                <a:cxn ang="0">
                  <a:pos x="21" y="36"/>
                </a:cxn>
                <a:cxn ang="0">
                  <a:pos x="15" y="0"/>
                </a:cxn>
              </a:cxnLst>
              <a:rect l="0" t="0" r="r" b="b"/>
              <a:pathLst>
                <a:path w="30" h="36">
                  <a:moveTo>
                    <a:pt x="15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30" y="24"/>
                    <a:pt x="27" y="8"/>
                    <a:pt x="15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0" name="Freeform 841">
              <a:extLst>
                <a:ext uri="{FF2B5EF4-FFF2-40B4-BE49-F238E27FC236}">
                  <a16:creationId xmlns:a16="http://schemas.microsoft.com/office/drawing/2014/main" id="{22DE1594-A309-469A-B468-B0C2A34B94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374" y="2652233"/>
              <a:ext cx="76726" cy="106236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0" y="21"/>
                </a:cxn>
                <a:cxn ang="0">
                  <a:pos x="21" y="36"/>
                </a:cxn>
                <a:cxn ang="0">
                  <a:pos x="26" y="21"/>
                </a:cxn>
                <a:cxn ang="0">
                  <a:pos x="15" y="0"/>
                </a:cxn>
              </a:cxnLst>
              <a:rect l="0" t="0" r="r" b="b"/>
              <a:pathLst>
                <a:path w="26" h="36">
                  <a:moveTo>
                    <a:pt x="15" y="0"/>
                  </a:moveTo>
                  <a:cubicBezTo>
                    <a:pt x="0" y="21"/>
                    <a:pt x="0" y="21"/>
                    <a:pt x="0" y="21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5" y="32"/>
                    <a:pt x="26" y="26"/>
                    <a:pt x="26" y="21"/>
                  </a:cubicBezTo>
                  <a:cubicBezTo>
                    <a:pt x="26" y="13"/>
                    <a:pt x="22" y="5"/>
                    <a:pt x="15" y="0"/>
                  </a:cubicBezTo>
                </a:path>
              </a:pathLst>
            </a:custGeom>
            <a:solidFill>
              <a:srgbClr val="B1DDE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1" name="Freeform 842">
              <a:extLst>
                <a:ext uri="{FF2B5EF4-FFF2-40B4-BE49-F238E27FC236}">
                  <a16:creationId xmlns:a16="http://schemas.microsoft.com/office/drawing/2014/main" id="{026C7A72-5E1B-4992-ACDD-C202E0E32B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374" y="2637477"/>
              <a:ext cx="76726" cy="7672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6"/>
                </a:cxn>
                <a:cxn ang="0">
                  <a:pos x="26" y="26"/>
                </a:cxn>
                <a:cxn ang="0">
                  <a:pos x="0" y="0"/>
                </a:cxn>
              </a:cxnLst>
              <a:rect l="0" t="0" r="r" b="b"/>
              <a:pathLst>
                <a:path w="26" h="26">
                  <a:moveTo>
                    <a:pt x="0" y="0"/>
                  </a:moveTo>
                  <a:cubicBezTo>
                    <a:pt x="0" y="26"/>
                    <a:pt x="0" y="26"/>
                    <a:pt x="0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12"/>
                    <a:pt x="14" y="0"/>
                    <a:pt x="0" y="0"/>
                  </a:cubicBezTo>
                </a:path>
              </a:pathLst>
            </a:custGeom>
            <a:solidFill>
              <a:srgbClr val="41AAC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2" name="Rectangle 843">
              <a:extLst>
                <a:ext uri="{FF2B5EF4-FFF2-40B4-BE49-F238E27FC236}">
                  <a16:creationId xmlns:a16="http://schemas.microsoft.com/office/drawing/2014/main" id="{B837AD92-5E6D-4E53-8887-53821B6F5A6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593213"/>
              <a:ext cx="317230" cy="191814"/>
            </a:xfrm>
            <a:prstGeom prst="rect">
              <a:avLst/>
            </a:prstGeom>
            <a:solidFill>
              <a:srgbClr val="D4DEE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3" name="Rectangle 844">
              <a:extLst>
                <a:ext uri="{FF2B5EF4-FFF2-40B4-BE49-F238E27FC236}">
                  <a16:creationId xmlns:a16="http://schemas.microsoft.com/office/drawing/2014/main" id="{F8616B8D-61CC-4CE4-896D-7D0E48C6462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593213"/>
              <a:ext cx="317230" cy="1918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4" name="Rectangle 845">
              <a:extLst>
                <a:ext uri="{FF2B5EF4-FFF2-40B4-BE49-F238E27FC236}">
                  <a16:creationId xmlns:a16="http://schemas.microsoft.com/office/drawing/2014/main" id="{2C6E8F71-07D9-4FE2-9299-953CB2E10F0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593213"/>
              <a:ext cx="38363" cy="191814"/>
            </a:xfrm>
            <a:prstGeom prst="rect">
              <a:avLst/>
            </a:prstGeom>
            <a:solidFill>
              <a:srgbClr val="41AAC8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5" name="Rectangle 846">
              <a:extLst>
                <a:ext uri="{FF2B5EF4-FFF2-40B4-BE49-F238E27FC236}">
                  <a16:creationId xmlns:a16="http://schemas.microsoft.com/office/drawing/2014/main" id="{445FAAF1-9185-4988-9E34-847C04B6F55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593213"/>
              <a:ext cx="38363" cy="1918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6" name="Rectangle 847">
              <a:extLst>
                <a:ext uri="{FF2B5EF4-FFF2-40B4-BE49-F238E27FC236}">
                  <a16:creationId xmlns:a16="http://schemas.microsoft.com/office/drawing/2014/main" id="{C8C80FEC-AE57-4ECF-A2CE-02290071DC0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05379" y="2593213"/>
              <a:ext cx="38363" cy="191814"/>
            </a:xfrm>
            <a:prstGeom prst="rect">
              <a:avLst/>
            </a:prstGeom>
            <a:solidFill>
              <a:srgbClr val="41AAC8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7" name="Rectangle 848">
              <a:extLst>
                <a:ext uri="{FF2B5EF4-FFF2-40B4-BE49-F238E27FC236}">
                  <a16:creationId xmlns:a16="http://schemas.microsoft.com/office/drawing/2014/main" id="{390AAF84-B7EE-481D-B1A8-94D1FF1116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05379" y="2593213"/>
              <a:ext cx="38363" cy="1918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8" name="Rectangle 849">
              <a:extLst>
                <a:ext uri="{FF2B5EF4-FFF2-40B4-BE49-F238E27FC236}">
                  <a16:creationId xmlns:a16="http://schemas.microsoft.com/office/drawing/2014/main" id="{2C9A451E-81CD-4A92-B535-68EB679970C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7991" y="2593213"/>
              <a:ext cx="38363" cy="191814"/>
            </a:xfrm>
            <a:prstGeom prst="rect">
              <a:avLst/>
            </a:prstGeom>
            <a:solidFill>
              <a:srgbClr val="41AAC8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199" name="Rectangle 850">
              <a:extLst>
                <a:ext uri="{FF2B5EF4-FFF2-40B4-BE49-F238E27FC236}">
                  <a16:creationId xmlns:a16="http://schemas.microsoft.com/office/drawing/2014/main" id="{25C83C99-F557-4F26-86A9-383B002717F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7991" y="2593213"/>
              <a:ext cx="38363" cy="1918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0" name="Rectangle 851">
              <a:extLst>
                <a:ext uri="{FF2B5EF4-FFF2-40B4-BE49-F238E27FC236}">
                  <a16:creationId xmlns:a16="http://schemas.microsoft.com/office/drawing/2014/main" id="{5E5C4215-2250-4A44-BD55-91DA72CBEB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10947" y="2593213"/>
              <a:ext cx="41314" cy="191814"/>
            </a:xfrm>
            <a:prstGeom prst="rect">
              <a:avLst/>
            </a:prstGeom>
            <a:solidFill>
              <a:srgbClr val="41AAC8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1" name="Rectangle 852">
              <a:extLst>
                <a:ext uri="{FF2B5EF4-FFF2-40B4-BE49-F238E27FC236}">
                  <a16:creationId xmlns:a16="http://schemas.microsoft.com/office/drawing/2014/main" id="{1130AE33-F916-4D1A-87F0-FF02C20F14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10947" y="2593213"/>
              <a:ext cx="41314" cy="1918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2" name="Freeform 853">
              <a:extLst>
                <a:ext uri="{FF2B5EF4-FFF2-40B4-BE49-F238E27FC236}">
                  <a16:creationId xmlns:a16="http://schemas.microsoft.com/office/drawing/2014/main" id="{69C68F2C-E2FB-4BD3-8B4E-C96007432FC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4873" y="2593213"/>
              <a:ext cx="240505" cy="35412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0" y="0"/>
                </a:cxn>
                <a:cxn ang="0">
                  <a:pos x="0" y="24"/>
                </a:cxn>
                <a:cxn ang="0">
                  <a:pos x="36" y="24"/>
                </a:cxn>
                <a:cxn ang="0">
                  <a:pos x="36" y="0"/>
                </a:cxn>
                <a:cxn ang="0">
                  <a:pos x="99" y="0"/>
                </a:cxn>
                <a:cxn ang="0">
                  <a:pos x="62" y="0"/>
                </a:cxn>
                <a:cxn ang="0">
                  <a:pos x="62" y="24"/>
                </a:cxn>
                <a:cxn ang="0">
                  <a:pos x="99" y="24"/>
                </a:cxn>
                <a:cxn ang="0">
                  <a:pos x="99" y="0"/>
                </a:cxn>
                <a:cxn ang="0">
                  <a:pos x="163" y="0"/>
                </a:cxn>
                <a:cxn ang="0">
                  <a:pos x="127" y="0"/>
                </a:cxn>
                <a:cxn ang="0">
                  <a:pos x="127" y="24"/>
                </a:cxn>
                <a:cxn ang="0">
                  <a:pos x="163" y="24"/>
                </a:cxn>
                <a:cxn ang="0">
                  <a:pos x="163" y="0"/>
                </a:cxn>
              </a:cxnLst>
              <a:rect l="0" t="0" r="r" b="b"/>
              <a:pathLst>
                <a:path w="163" h="24">
                  <a:moveTo>
                    <a:pt x="36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36" y="24"/>
                  </a:lnTo>
                  <a:lnTo>
                    <a:pt x="36" y="0"/>
                  </a:lnTo>
                  <a:close/>
                  <a:moveTo>
                    <a:pt x="99" y="0"/>
                  </a:moveTo>
                  <a:lnTo>
                    <a:pt x="62" y="0"/>
                  </a:lnTo>
                  <a:lnTo>
                    <a:pt x="62" y="24"/>
                  </a:lnTo>
                  <a:lnTo>
                    <a:pt x="99" y="24"/>
                  </a:lnTo>
                  <a:lnTo>
                    <a:pt x="99" y="0"/>
                  </a:lnTo>
                  <a:close/>
                  <a:moveTo>
                    <a:pt x="163" y="0"/>
                  </a:moveTo>
                  <a:lnTo>
                    <a:pt x="127" y="0"/>
                  </a:lnTo>
                  <a:lnTo>
                    <a:pt x="127" y="24"/>
                  </a:lnTo>
                  <a:lnTo>
                    <a:pt x="163" y="24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A5E1E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3" name="Freeform 854">
              <a:extLst>
                <a:ext uri="{FF2B5EF4-FFF2-40B4-BE49-F238E27FC236}">
                  <a16:creationId xmlns:a16="http://schemas.microsoft.com/office/drawing/2014/main" id="{EB4D730A-FD6E-4DFA-A83A-D386CA64358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4873" y="2593213"/>
              <a:ext cx="240505" cy="35412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0" y="0"/>
                </a:cxn>
                <a:cxn ang="0">
                  <a:pos x="0" y="24"/>
                </a:cxn>
                <a:cxn ang="0">
                  <a:pos x="36" y="24"/>
                </a:cxn>
                <a:cxn ang="0">
                  <a:pos x="36" y="0"/>
                </a:cxn>
                <a:cxn ang="0">
                  <a:pos x="99" y="0"/>
                </a:cxn>
                <a:cxn ang="0">
                  <a:pos x="62" y="0"/>
                </a:cxn>
                <a:cxn ang="0">
                  <a:pos x="62" y="24"/>
                </a:cxn>
                <a:cxn ang="0">
                  <a:pos x="99" y="24"/>
                </a:cxn>
                <a:cxn ang="0">
                  <a:pos x="99" y="0"/>
                </a:cxn>
                <a:cxn ang="0">
                  <a:pos x="163" y="0"/>
                </a:cxn>
                <a:cxn ang="0">
                  <a:pos x="127" y="0"/>
                </a:cxn>
                <a:cxn ang="0">
                  <a:pos x="127" y="24"/>
                </a:cxn>
                <a:cxn ang="0">
                  <a:pos x="163" y="24"/>
                </a:cxn>
                <a:cxn ang="0">
                  <a:pos x="163" y="0"/>
                </a:cxn>
              </a:cxnLst>
              <a:rect l="0" t="0" r="r" b="b"/>
              <a:pathLst>
                <a:path w="163" h="24">
                  <a:moveTo>
                    <a:pt x="36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36" y="24"/>
                  </a:lnTo>
                  <a:lnTo>
                    <a:pt x="36" y="0"/>
                  </a:lnTo>
                  <a:moveTo>
                    <a:pt x="99" y="0"/>
                  </a:moveTo>
                  <a:lnTo>
                    <a:pt x="62" y="0"/>
                  </a:lnTo>
                  <a:lnTo>
                    <a:pt x="62" y="24"/>
                  </a:lnTo>
                  <a:lnTo>
                    <a:pt x="99" y="24"/>
                  </a:lnTo>
                  <a:lnTo>
                    <a:pt x="99" y="0"/>
                  </a:lnTo>
                  <a:moveTo>
                    <a:pt x="163" y="0"/>
                  </a:moveTo>
                  <a:lnTo>
                    <a:pt x="127" y="0"/>
                  </a:lnTo>
                  <a:lnTo>
                    <a:pt x="127" y="24"/>
                  </a:lnTo>
                  <a:lnTo>
                    <a:pt x="163" y="24"/>
                  </a:lnTo>
                  <a:lnTo>
                    <a:pt x="163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4" name="Rectangle 855">
              <a:extLst>
                <a:ext uri="{FF2B5EF4-FFF2-40B4-BE49-F238E27FC236}">
                  <a16:creationId xmlns:a16="http://schemas.microsoft.com/office/drawing/2014/main" id="{9E0EE7A5-D26E-4E9A-8C4D-5731EA059B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593213"/>
              <a:ext cx="38363" cy="35412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5" name="Rectangle 856">
              <a:extLst>
                <a:ext uri="{FF2B5EF4-FFF2-40B4-BE49-F238E27FC236}">
                  <a16:creationId xmlns:a16="http://schemas.microsoft.com/office/drawing/2014/main" id="{2DEEF6EC-FE75-40F9-B28B-C9CD1624FD4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593213"/>
              <a:ext cx="38363" cy="3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6" name="Rectangle 857">
              <a:extLst>
                <a:ext uri="{FF2B5EF4-FFF2-40B4-BE49-F238E27FC236}">
                  <a16:creationId xmlns:a16="http://schemas.microsoft.com/office/drawing/2014/main" id="{FD7EA7C1-BC4F-4528-88F4-C272430CCA7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05379" y="2593213"/>
              <a:ext cx="38363" cy="35412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7" name="Rectangle 858">
              <a:extLst>
                <a:ext uri="{FF2B5EF4-FFF2-40B4-BE49-F238E27FC236}">
                  <a16:creationId xmlns:a16="http://schemas.microsoft.com/office/drawing/2014/main" id="{5517E094-A9EE-48A2-B6E4-2F30CEA2C9C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05379" y="2593213"/>
              <a:ext cx="38363" cy="3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8" name="Rectangle 859">
              <a:extLst>
                <a:ext uri="{FF2B5EF4-FFF2-40B4-BE49-F238E27FC236}">
                  <a16:creationId xmlns:a16="http://schemas.microsoft.com/office/drawing/2014/main" id="{6665DCA9-3BE0-45CC-A7D8-CEF85EE4F08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7991" y="2593213"/>
              <a:ext cx="38363" cy="35412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09" name="Rectangle 860">
              <a:extLst>
                <a:ext uri="{FF2B5EF4-FFF2-40B4-BE49-F238E27FC236}">
                  <a16:creationId xmlns:a16="http://schemas.microsoft.com/office/drawing/2014/main" id="{C2457F72-BAD0-4676-B399-4A3DC0B8FA4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7991" y="2593213"/>
              <a:ext cx="38363" cy="3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0" name="Rectangle 861">
              <a:extLst>
                <a:ext uri="{FF2B5EF4-FFF2-40B4-BE49-F238E27FC236}">
                  <a16:creationId xmlns:a16="http://schemas.microsoft.com/office/drawing/2014/main" id="{0E95A149-2C3C-4446-8DB4-78467A6A391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10947" y="2593213"/>
              <a:ext cx="41314" cy="35412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1" name="Rectangle 862">
              <a:extLst>
                <a:ext uri="{FF2B5EF4-FFF2-40B4-BE49-F238E27FC236}">
                  <a16:creationId xmlns:a16="http://schemas.microsoft.com/office/drawing/2014/main" id="{7FED5AE6-C91F-494C-8DC2-431B384C63C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10947" y="2593213"/>
              <a:ext cx="41314" cy="354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2" name="Freeform 863">
              <a:extLst>
                <a:ext uri="{FF2B5EF4-FFF2-40B4-BE49-F238E27FC236}">
                  <a16:creationId xmlns:a16="http://schemas.microsoft.com/office/drawing/2014/main" id="{9E074B2C-2B80-4890-83CC-993AE25552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4873" y="2661085"/>
              <a:ext cx="240505" cy="32461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0" y="0"/>
                </a:cxn>
                <a:cxn ang="0">
                  <a:pos x="0" y="22"/>
                </a:cxn>
                <a:cxn ang="0">
                  <a:pos x="36" y="22"/>
                </a:cxn>
                <a:cxn ang="0">
                  <a:pos x="36" y="0"/>
                </a:cxn>
                <a:cxn ang="0">
                  <a:pos x="99" y="0"/>
                </a:cxn>
                <a:cxn ang="0">
                  <a:pos x="62" y="0"/>
                </a:cxn>
                <a:cxn ang="0">
                  <a:pos x="62" y="22"/>
                </a:cxn>
                <a:cxn ang="0">
                  <a:pos x="99" y="22"/>
                </a:cxn>
                <a:cxn ang="0">
                  <a:pos x="99" y="0"/>
                </a:cxn>
                <a:cxn ang="0">
                  <a:pos x="163" y="0"/>
                </a:cxn>
                <a:cxn ang="0">
                  <a:pos x="127" y="0"/>
                </a:cxn>
                <a:cxn ang="0">
                  <a:pos x="127" y="22"/>
                </a:cxn>
                <a:cxn ang="0">
                  <a:pos x="163" y="22"/>
                </a:cxn>
                <a:cxn ang="0">
                  <a:pos x="163" y="0"/>
                </a:cxn>
              </a:cxnLst>
              <a:rect l="0" t="0" r="r" b="b"/>
              <a:pathLst>
                <a:path w="163" h="22">
                  <a:moveTo>
                    <a:pt x="36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36" y="22"/>
                  </a:lnTo>
                  <a:lnTo>
                    <a:pt x="36" y="0"/>
                  </a:lnTo>
                  <a:close/>
                  <a:moveTo>
                    <a:pt x="99" y="0"/>
                  </a:moveTo>
                  <a:lnTo>
                    <a:pt x="62" y="0"/>
                  </a:lnTo>
                  <a:lnTo>
                    <a:pt x="62" y="22"/>
                  </a:lnTo>
                  <a:lnTo>
                    <a:pt x="99" y="22"/>
                  </a:lnTo>
                  <a:lnTo>
                    <a:pt x="99" y="0"/>
                  </a:lnTo>
                  <a:close/>
                  <a:moveTo>
                    <a:pt x="163" y="0"/>
                  </a:moveTo>
                  <a:lnTo>
                    <a:pt x="127" y="0"/>
                  </a:lnTo>
                  <a:lnTo>
                    <a:pt x="127" y="22"/>
                  </a:lnTo>
                  <a:lnTo>
                    <a:pt x="163" y="22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A5E1E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3" name="Freeform 864">
              <a:extLst>
                <a:ext uri="{FF2B5EF4-FFF2-40B4-BE49-F238E27FC236}">
                  <a16:creationId xmlns:a16="http://schemas.microsoft.com/office/drawing/2014/main" id="{D22DDEAB-28A0-47DB-BAD0-055B44A96B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4873" y="2661085"/>
              <a:ext cx="240505" cy="32461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0" y="0"/>
                </a:cxn>
                <a:cxn ang="0">
                  <a:pos x="0" y="22"/>
                </a:cxn>
                <a:cxn ang="0">
                  <a:pos x="36" y="22"/>
                </a:cxn>
                <a:cxn ang="0">
                  <a:pos x="36" y="0"/>
                </a:cxn>
                <a:cxn ang="0">
                  <a:pos x="99" y="0"/>
                </a:cxn>
                <a:cxn ang="0">
                  <a:pos x="62" y="0"/>
                </a:cxn>
                <a:cxn ang="0">
                  <a:pos x="62" y="22"/>
                </a:cxn>
                <a:cxn ang="0">
                  <a:pos x="99" y="22"/>
                </a:cxn>
                <a:cxn ang="0">
                  <a:pos x="99" y="0"/>
                </a:cxn>
                <a:cxn ang="0">
                  <a:pos x="163" y="0"/>
                </a:cxn>
                <a:cxn ang="0">
                  <a:pos x="127" y="0"/>
                </a:cxn>
                <a:cxn ang="0">
                  <a:pos x="127" y="22"/>
                </a:cxn>
                <a:cxn ang="0">
                  <a:pos x="163" y="22"/>
                </a:cxn>
                <a:cxn ang="0">
                  <a:pos x="163" y="0"/>
                </a:cxn>
              </a:cxnLst>
              <a:rect l="0" t="0" r="r" b="b"/>
              <a:pathLst>
                <a:path w="163" h="22">
                  <a:moveTo>
                    <a:pt x="36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36" y="22"/>
                  </a:lnTo>
                  <a:lnTo>
                    <a:pt x="36" y="0"/>
                  </a:lnTo>
                  <a:moveTo>
                    <a:pt x="99" y="0"/>
                  </a:moveTo>
                  <a:lnTo>
                    <a:pt x="62" y="0"/>
                  </a:lnTo>
                  <a:lnTo>
                    <a:pt x="62" y="22"/>
                  </a:lnTo>
                  <a:lnTo>
                    <a:pt x="99" y="22"/>
                  </a:lnTo>
                  <a:lnTo>
                    <a:pt x="99" y="0"/>
                  </a:lnTo>
                  <a:moveTo>
                    <a:pt x="163" y="0"/>
                  </a:moveTo>
                  <a:lnTo>
                    <a:pt x="127" y="0"/>
                  </a:lnTo>
                  <a:lnTo>
                    <a:pt x="127" y="22"/>
                  </a:lnTo>
                  <a:lnTo>
                    <a:pt x="163" y="22"/>
                  </a:lnTo>
                  <a:lnTo>
                    <a:pt x="163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4" name="Rectangle 865">
              <a:extLst>
                <a:ext uri="{FF2B5EF4-FFF2-40B4-BE49-F238E27FC236}">
                  <a16:creationId xmlns:a16="http://schemas.microsoft.com/office/drawing/2014/main" id="{C56C7056-1C7F-4A16-9AA9-2BA45E3F5A1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661085"/>
              <a:ext cx="38363" cy="32461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5" name="Rectangle 866">
              <a:extLst>
                <a:ext uri="{FF2B5EF4-FFF2-40B4-BE49-F238E27FC236}">
                  <a16:creationId xmlns:a16="http://schemas.microsoft.com/office/drawing/2014/main" id="{13397409-397C-47DC-8B3C-9D0F50821A1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661085"/>
              <a:ext cx="38363" cy="32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6" name="Rectangle 867">
              <a:extLst>
                <a:ext uri="{FF2B5EF4-FFF2-40B4-BE49-F238E27FC236}">
                  <a16:creationId xmlns:a16="http://schemas.microsoft.com/office/drawing/2014/main" id="{8218FBF6-F9B1-4CAF-9506-B4A00943BA4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05379" y="2661085"/>
              <a:ext cx="38363" cy="32461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7" name="Rectangle 868">
              <a:extLst>
                <a:ext uri="{FF2B5EF4-FFF2-40B4-BE49-F238E27FC236}">
                  <a16:creationId xmlns:a16="http://schemas.microsoft.com/office/drawing/2014/main" id="{B1A06417-91CC-4079-94A8-1A1544A7BE8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05379" y="2661085"/>
              <a:ext cx="38363" cy="32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8" name="Rectangle 869">
              <a:extLst>
                <a:ext uri="{FF2B5EF4-FFF2-40B4-BE49-F238E27FC236}">
                  <a16:creationId xmlns:a16="http://schemas.microsoft.com/office/drawing/2014/main" id="{B1D354F9-4CA4-4926-8340-6146F36D6D0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7991" y="2661085"/>
              <a:ext cx="38363" cy="32461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19" name="Rectangle 870">
              <a:extLst>
                <a:ext uri="{FF2B5EF4-FFF2-40B4-BE49-F238E27FC236}">
                  <a16:creationId xmlns:a16="http://schemas.microsoft.com/office/drawing/2014/main" id="{2CC516C5-6993-459F-B6EB-61E37C3727B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7991" y="2661085"/>
              <a:ext cx="38363" cy="32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0" name="Rectangle 871">
              <a:extLst>
                <a:ext uri="{FF2B5EF4-FFF2-40B4-BE49-F238E27FC236}">
                  <a16:creationId xmlns:a16="http://schemas.microsoft.com/office/drawing/2014/main" id="{08FF494B-2154-48F0-BF1A-89F606D1783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10947" y="2661085"/>
              <a:ext cx="41314" cy="32461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1" name="Rectangle 872">
              <a:extLst>
                <a:ext uri="{FF2B5EF4-FFF2-40B4-BE49-F238E27FC236}">
                  <a16:creationId xmlns:a16="http://schemas.microsoft.com/office/drawing/2014/main" id="{F2C75643-6A60-45E0-BADD-54028F75232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10947" y="2661085"/>
              <a:ext cx="41314" cy="32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2" name="Freeform 873">
              <a:extLst>
                <a:ext uri="{FF2B5EF4-FFF2-40B4-BE49-F238E27FC236}">
                  <a16:creationId xmlns:a16="http://schemas.microsoft.com/office/drawing/2014/main" id="{A0C3A4B8-5EA7-4505-A38C-FD056A00A7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4873" y="2723056"/>
              <a:ext cx="240505" cy="32461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0" y="0"/>
                </a:cxn>
                <a:cxn ang="0">
                  <a:pos x="0" y="22"/>
                </a:cxn>
                <a:cxn ang="0">
                  <a:pos x="36" y="22"/>
                </a:cxn>
                <a:cxn ang="0">
                  <a:pos x="36" y="0"/>
                </a:cxn>
                <a:cxn ang="0">
                  <a:pos x="99" y="0"/>
                </a:cxn>
                <a:cxn ang="0">
                  <a:pos x="62" y="0"/>
                </a:cxn>
                <a:cxn ang="0">
                  <a:pos x="62" y="22"/>
                </a:cxn>
                <a:cxn ang="0">
                  <a:pos x="99" y="22"/>
                </a:cxn>
                <a:cxn ang="0">
                  <a:pos x="99" y="0"/>
                </a:cxn>
                <a:cxn ang="0">
                  <a:pos x="163" y="0"/>
                </a:cxn>
                <a:cxn ang="0">
                  <a:pos x="127" y="0"/>
                </a:cxn>
                <a:cxn ang="0">
                  <a:pos x="127" y="22"/>
                </a:cxn>
                <a:cxn ang="0">
                  <a:pos x="163" y="22"/>
                </a:cxn>
                <a:cxn ang="0">
                  <a:pos x="163" y="0"/>
                </a:cxn>
              </a:cxnLst>
              <a:rect l="0" t="0" r="r" b="b"/>
              <a:pathLst>
                <a:path w="163" h="22">
                  <a:moveTo>
                    <a:pt x="36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36" y="22"/>
                  </a:lnTo>
                  <a:lnTo>
                    <a:pt x="36" y="0"/>
                  </a:lnTo>
                  <a:close/>
                  <a:moveTo>
                    <a:pt x="99" y="0"/>
                  </a:moveTo>
                  <a:lnTo>
                    <a:pt x="62" y="0"/>
                  </a:lnTo>
                  <a:lnTo>
                    <a:pt x="62" y="22"/>
                  </a:lnTo>
                  <a:lnTo>
                    <a:pt x="99" y="22"/>
                  </a:lnTo>
                  <a:lnTo>
                    <a:pt x="99" y="0"/>
                  </a:lnTo>
                  <a:close/>
                  <a:moveTo>
                    <a:pt x="163" y="0"/>
                  </a:moveTo>
                  <a:lnTo>
                    <a:pt x="127" y="0"/>
                  </a:lnTo>
                  <a:lnTo>
                    <a:pt x="127" y="22"/>
                  </a:lnTo>
                  <a:lnTo>
                    <a:pt x="163" y="22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rgbClr val="A5E1E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3" name="Freeform 874">
              <a:extLst>
                <a:ext uri="{FF2B5EF4-FFF2-40B4-BE49-F238E27FC236}">
                  <a16:creationId xmlns:a16="http://schemas.microsoft.com/office/drawing/2014/main" id="{BB76E81A-3EF0-4DB6-B691-DD97B08D75D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4873" y="2723056"/>
              <a:ext cx="240505" cy="32461"/>
            </a:xfrm>
            <a:custGeom>
              <a:avLst/>
              <a:gdLst/>
              <a:ahLst/>
              <a:cxnLst>
                <a:cxn ang="0">
                  <a:pos x="36" y="0"/>
                </a:cxn>
                <a:cxn ang="0">
                  <a:pos x="0" y="0"/>
                </a:cxn>
                <a:cxn ang="0">
                  <a:pos x="0" y="22"/>
                </a:cxn>
                <a:cxn ang="0">
                  <a:pos x="36" y="22"/>
                </a:cxn>
                <a:cxn ang="0">
                  <a:pos x="36" y="0"/>
                </a:cxn>
                <a:cxn ang="0">
                  <a:pos x="99" y="0"/>
                </a:cxn>
                <a:cxn ang="0">
                  <a:pos x="62" y="0"/>
                </a:cxn>
                <a:cxn ang="0">
                  <a:pos x="62" y="22"/>
                </a:cxn>
                <a:cxn ang="0">
                  <a:pos x="99" y="22"/>
                </a:cxn>
                <a:cxn ang="0">
                  <a:pos x="99" y="0"/>
                </a:cxn>
                <a:cxn ang="0">
                  <a:pos x="163" y="0"/>
                </a:cxn>
                <a:cxn ang="0">
                  <a:pos x="127" y="0"/>
                </a:cxn>
                <a:cxn ang="0">
                  <a:pos x="127" y="22"/>
                </a:cxn>
                <a:cxn ang="0">
                  <a:pos x="163" y="22"/>
                </a:cxn>
                <a:cxn ang="0">
                  <a:pos x="163" y="0"/>
                </a:cxn>
              </a:cxnLst>
              <a:rect l="0" t="0" r="r" b="b"/>
              <a:pathLst>
                <a:path w="163" h="22">
                  <a:moveTo>
                    <a:pt x="36" y="0"/>
                  </a:moveTo>
                  <a:lnTo>
                    <a:pt x="0" y="0"/>
                  </a:lnTo>
                  <a:lnTo>
                    <a:pt x="0" y="22"/>
                  </a:lnTo>
                  <a:lnTo>
                    <a:pt x="36" y="22"/>
                  </a:lnTo>
                  <a:lnTo>
                    <a:pt x="36" y="0"/>
                  </a:lnTo>
                  <a:moveTo>
                    <a:pt x="99" y="0"/>
                  </a:moveTo>
                  <a:lnTo>
                    <a:pt x="62" y="0"/>
                  </a:lnTo>
                  <a:lnTo>
                    <a:pt x="62" y="22"/>
                  </a:lnTo>
                  <a:lnTo>
                    <a:pt x="99" y="22"/>
                  </a:lnTo>
                  <a:lnTo>
                    <a:pt x="99" y="0"/>
                  </a:lnTo>
                  <a:moveTo>
                    <a:pt x="163" y="0"/>
                  </a:moveTo>
                  <a:lnTo>
                    <a:pt x="127" y="0"/>
                  </a:lnTo>
                  <a:lnTo>
                    <a:pt x="127" y="22"/>
                  </a:lnTo>
                  <a:lnTo>
                    <a:pt x="163" y="22"/>
                  </a:lnTo>
                  <a:lnTo>
                    <a:pt x="163" y="0"/>
                  </a:lnTo>
                </a:path>
              </a:pathLst>
            </a:custGeom>
            <a:noFill/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4" name="Rectangle 875">
              <a:extLst>
                <a:ext uri="{FF2B5EF4-FFF2-40B4-BE49-F238E27FC236}">
                  <a16:creationId xmlns:a16="http://schemas.microsoft.com/office/drawing/2014/main" id="{852E2C27-F1C4-4BD3-840E-4DF9BD0EE7D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723056"/>
              <a:ext cx="38363" cy="32461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5" name="Rectangle 876">
              <a:extLst>
                <a:ext uri="{FF2B5EF4-FFF2-40B4-BE49-F238E27FC236}">
                  <a16:creationId xmlns:a16="http://schemas.microsoft.com/office/drawing/2014/main" id="{A3980682-8FDC-44F6-9F95-A255A52A71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723056"/>
              <a:ext cx="38363" cy="32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6" name="Rectangle 877">
              <a:extLst>
                <a:ext uri="{FF2B5EF4-FFF2-40B4-BE49-F238E27FC236}">
                  <a16:creationId xmlns:a16="http://schemas.microsoft.com/office/drawing/2014/main" id="{D4B39B95-B383-4CE1-B3A1-44E098A55A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05379" y="2723056"/>
              <a:ext cx="38363" cy="32461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7" name="Rectangle 878">
              <a:extLst>
                <a:ext uri="{FF2B5EF4-FFF2-40B4-BE49-F238E27FC236}">
                  <a16:creationId xmlns:a16="http://schemas.microsoft.com/office/drawing/2014/main" id="{69D2FF33-6984-481F-840A-C280F254034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305379" y="2723056"/>
              <a:ext cx="38363" cy="32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8" name="Rectangle 879">
              <a:extLst>
                <a:ext uri="{FF2B5EF4-FFF2-40B4-BE49-F238E27FC236}">
                  <a16:creationId xmlns:a16="http://schemas.microsoft.com/office/drawing/2014/main" id="{AB939B4B-3323-4634-BDC6-A2D02062D10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7991" y="2723056"/>
              <a:ext cx="38363" cy="32461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29" name="Rectangle 880">
              <a:extLst>
                <a:ext uri="{FF2B5EF4-FFF2-40B4-BE49-F238E27FC236}">
                  <a16:creationId xmlns:a16="http://schemas.microsoft.com/office/drawing/2014/main" id="{9CB1339F-6CE3-42CB-AD94-46A80F813BA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7991" y="2723056"/>
              <a:ext cx="38363" cy="32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30" name="Rectangle 881">
              <a:extLst>
                <a:ext uri="{FF2B5EF4-FFF2-40B4-BE49-F238E27FC236}">
                  <a16:creationId xmlns:a16="http://schemas.microsoft.com/office/drawing/2014/main" id="{5F510DEB-3FDE-492F-98CF-2D18923449F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10947" y="2723056"/>
              <a:ext cx="41314" cy="32461"/>
            </a:xfrm>
            <a:prstGeom prst="rect">
              <a:avLst/>
            </a:prstGeom>
            <a:solidFill>
              <a:srgbClr val="009EB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31" name="Rectangle 882">
              <a:extLst>
                <a:ext uri="{FF2B5EF4-FFF2-40B4-BE49-F238E27FC236}">
                  <a16:creationId xmlns:a16="http://schemas.microsoft.com/office/drawing/2014/main" id="{1C5E4DEC-17DF-4A3B-AF55-E7B81D8F88C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10947" y="2723056"/>
              <a:ext cx="41314" cy="32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32" name="Freeform 883">
              <a:extLst>
                <a:ext uri="{FF2B5EF4-FFF2-40B4-BE49-F238E27FC236}">
                  <a16:creationId xmlns:a16="http://schemas.microsoft.com/office/drawing/2014/main" id="{0A2E2AFE-C383-48D8-BCA3-5A82BA62EEB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59923" y="2575507"/>
              <a:ext cx="904476" cy="473632"/>
            </a:xfrm>
            <a:custGeom>
              <a:avLst/>
              <a:gdLst/>
              <a:ahLst/>
              <a:cxnLst>
                <a:cxn ang="0">
                  <a:pos x="605" y="313"/>
                </a:cxn>
                <a:cxn ang="0">
                  <a:pos x="8" y="313"/>
                </a:cxn>
                <a:cxn ang="0">
                  <a:pos x="8" y="8"/>
                </a:cxn>
                <a:cxn ang="0">
                  <a:pos x="605" y="8"/>
                </a:cxn>
                <a:cxn ang="0">
                  <a:pos x="605" y="313"/>
                </a:cxn>
                <a:cxn ang="0">
                  <a:pos x="613" y="0"/>
                </a:cxn>
                <a:cxn ang="0">
                  <a:pos x="0" y="0"/>
                </a:cxn>
                <a:cxn ang="0">
                  <a:pos x="0" y="321"/>
                </a:cxn>
                <a:cxn ang="0">
                  <a:pos x="613" y="321"/>
                </a:cxn>
                <a:cxn ang="0">
                  <a:pos x="613" y="0"/>
                </a:cxn>
              </a:cxnLst>
              <a:rect l="0" t="0" r="r" b="b"/>
              <a:pathLst>
                <a:path w="613" h="321">
                  <a:moveTo>
                    <a:pt x="605" y="313"/>
                  </a:moveTo>
                  <a:lnTo>
                    <a:pt x="8" y="313"/>
                  </a:lnTo>
                  <a:lnTo>
                    <a:pt x="8" y="8"/>
                  </a:lnTo>
                  <a:lnTo>
                    <a:pt x="605" y="8"/>
                  </a:lnTo>
                  <a:lnTo>
                    <a:pt x="605" y="313"/>
                  </a:lnTo>
                  <a:close/>
                  <a:moveTo>
                    <a:pt x="613" y="0"/>
                  </a:moveTo>
                  <a:lnTo>
                    <a:pt x="0" y="0"/>
                  </a:lnTo>
                  <a:lnTo>
                    <a:pt x="0" y="321"/>
                  </a:lnTo>
                  <a:lnTo>
                    <a:pt x="613" y="321"/>
                  </a:lnTo>
                  <a:lnTo>
                    <a:pt x="61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33" name="Rectangle 884">
              <a:extLst>
                <a:ext uri="{FF2B5EF4-FFF2-40B4-BE49-F238E27FC236}">
                  <a16:creationId xmlns:a16="http://schemas.microsoft.com/office/drawing/2014/main" id="{6E0559D4-F54D-49F9-AA1D-67DE54F60C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26511" y="2805684"/>
              <a:ext cx="317230" cy="231652"/>
            </a:xfrm>
            <a:prstGeom prst="rect">
              <a:avLst/>
            </a:prstGeom>
            <a:solidFill>
              <a:srgbClr val="CDD9E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34" name="Freeform 885">
              <a:extLst>
                <a:ext uri="{FF2B5EF4-FFF2-40B4-BE49-F238E27FC236}">
                  <a16:creationId xmlns:a16="http://schemas.microsoft.com/office/drawing/2014/main" id="{B528C86C-A334-4EB5-A88D-9809CC89450E}"/>
                </a:ext>
              </a:extLst>
            </p:cNvPr>
            <p:cNvSpPr>
              <a:spLocks/>
            </p:cNvSpPr>
            <p:nvPr/>
          </p:nvSpPr>
          <p:spPr bwMode="gray">
            <a:xfrm>
              <a:off x="6011756" y="2882409"/>
              <a:ext cx="343789" cy="104760"/>
            </a:xfrm>
            <a:custGeom>
              <a:avLst/>
              <a:gdLst/>
              <a:ahLst/>
              <a:cxnLst>
                <a:cxn ang="0">
                  <a:pos x="6" y="28"/>
                </a:cxn>
                <a:cxn ang="0">
                  <a:pos x="8" y="26"/>
                </a:cxn>
                <a:cxn ang="0">
                  <a:pos x="16" y="18"/>
                </a:cxn>
                <a:cxn ang="0">
                  <a:pos x="23" y="18"/>
                </a:cxn>
                <a:cxn ang="0">
                  <a:pos x="23" y="18"/>
                </a:cxn>
                <a:cxn ang="0">
                  <a:pos x="23" y="18"/>
                </a:cxn>
                <a:cxn ang="0">
                  <a:pos x="24" y="19"/>
                </a:cxn>
                <a:cxn ang="0">
                  <a:pos x="38" y="24"/>
                </a:cxn>
                <a:cxn ang="0">
                  <a:pos x="41" y="22"/>
                </a:cxn>
                <a:cxn ang="0">
                  <a:pos x="53" y="19"/>
                </a:cxn>
                <a:cxn ang="0">
                  <a:pos x="64" y="21"/>
                </a:cxn>
                <a:cxn ang="0">
                  <a:pos x="66" y="21"/>
                </a:cxn>
                <a:cxn ang="0">
                  <a:pos x="71" y="15"/>
                </a:cxn>
                <a:cxn ang="0">
                  <a:pos x="79" y="12"/>
                </a:cxn>
                <a:cxn ang="0">
                  <a:pos x="80" y="13"/>
                </a:cxn>
                <a:cxn ang="0">
                  <a:pos x="85" y="12"/>
                </a:cxn>
                <a:cxn ang="0">
                  <a:pos x="91" y="11"/>
                </a:cxn>
                <a:cxn ang="0">
                  <a:pos x="91" y="11"/>
                </a:cxn>
                <a:cxn ang="0">
                  <a:pos x="96" y="3"/>
                </a:cxn>
                <a:cxn ang="0">
                  <a:pos x="106" y="0"/>
                </a:cxn>
                <a:cxn ang="0">
                  <a:pos x="112" y="2"/>
                </a:cxn>
                <a:cxn ang="0">
                  <a:pos x="114" y="4"/>
                </a:cxn>
                <a:cxn ang="0">
                  <a:pos x="111" y="9"/>
                </a:cxn>
                <a:cxn ang="0">
                  <a:pos x="112" y="9"/>
                </a:cxn>
                <a:cxn ang="0">
                  <a:pos x="108" y="9"/>
                </a:cxn>
                <a:cxn ang="0">
                  <a:pos x="103" y="8"/>
                </a:cxn>
                <a:cxn ang="0">
                  <a:pos x="99" y="13"/>
                </a:cxn>
                <a:cxn ang="0">
                  <a:pos x="96" y="17"/>
                </a:cxn>
                <a:cxn ang="0">
                  <a:pos x="96" y="17"/>
                </a:cxn>
                <a:cxn ang="0">
                  <a:pos x="95" y="18"/>
                </a:cxn>
                <a:cxn ang="0">
                  <a:pos x="93" y="19"/>
                </a:cxn>
                <a:cxn ang="0">
                  <a:pos x="88" y="19"/>
                </a:cxn>
                <a:cxn ang="0">
                  <a:pos x="80" y="19"/>
                </a:cxn>
                <a:cxn ang="0">
                  <a:pos x="76" y="17"/>
                </a:cxn>
                <a:cxn ang="0">
                  <a:pos x="77" y="17"/>
                </a:cxn>
                <a:cxn ang="0">
                  <a:pos x="70" y="22"/>
                </a:cxn>
                <a:cxn ang="0">
                  <a:pos x="68" y="24"/>
                </a:cxn>
                <a:cxn ang="0">
                  <a:pos x="57" y="24"/>
                </a:cxn>
                <a:cxn ang="0">
                  <a:pos x="49" y="21"/>
                </a:cxn>
                <a:cxn ang="0">
                  <a:pos x="41" y="28"/>
                </a:cxn>
                <a:cxn ang="0">
                  <a:pos x="27" y="28"/>
                </a:cxn>
                <a:cxn ang="0">
                  <a:pos x="19" y="25"/>
                </a:cxn>
                <a:cxn ang="0">
                  <a:pos x="17" y="27"/>
                </a:cxn>
                <a:cxn ang="0">
                  <a:pos x="11" y="33"/>
                </a:cxn>
                <a:cxn ang="0">
                  <a:pos x="0" y="33"/>
                </a:cxn>
              </a:cxnLst>
              <a:rect l="0" t="0" r="r" b="b"/>
              <a:pathLst>
                <a:path w="116" h="35">
                  <a:moveTo>
                    <a:pt x="3" y="28"/>
                  </a:moveTo>
                  <a:cubicBezTo>
                    <a:pt x="5" y="29"/>
                    <a:pt x="5" y="29"/>
                    <a:pt x="5" y="29"/>
                  </a:cubicBezTo>
                  <a:cubicBezTo>
                    <a:pt x="5" y="28"/>
                    <a:pt x="5" y="28"/>
                    <a:pt x="6" y="28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1"/>
                    <a:pt x="12" y="21"/>
                    <a:pt x="13" y="20"/>
                  </a:cubicBezTo>
                  <a:cubicBezTo>
                    <a:pt x="14" y="19"/>
                    <a:pt x="15" y="18"/>
                    <a:pt x="16" y="18"/>
                  </a:cubicBezTo>
                  <a:cubicBezTo>
                    <a:pt x="17" y="17"/>
                    <a:pt x="18" y="17"/>
                    <a:pt x="19" y="17"/>
                  </a:cubicBezTo>
                  <a:cubicBezTo>
                    <a:pt x="20" y="17"/>
                    <a:pt x="20" y="17"/>
                    <a:pt x="21" y="17"/>
                  </a:cubicBezTo>
                  <a:cubicBezTo>
                    <a:pt x="22" y="18"/>
                    <a:pt x="22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9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5" y="19"/>
                    <a:pt x="27" y="20"/>
                    <a:pt x="28" y="21"/>
                  </a:cubicBezTo>
                  <a:cubicBezTo>
                    <a:pt x="31" y="22"/>
                    <a:pt x="35" y="23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40" y="24"/>
                    <a:pt x="40" y="23"/>
                    <a:pt x="41" y="22"/>
                  </a:cubicBezTo>
                  <a:cubicBezTo>
                    <a:pt x="42" y="21"/>
                    <a:pt x="43" y="19"/>
                    <a:pt x="46" y="18"/>
                  </a:cubicBezTo>
                  <a:cubicBezTo>
                    <a:pt x="47" y="18"/>
                    <a:pt x="48" y="18"/>
                    <a:pt x="50" y="18"/>
                  </a:cubicBezTo>
                  <a:cubicBezTo>
                    <a:pt x="51" y="18"/>
                    <a:pt x="52" y="19"/>
                    <a:pt x="53" y="19"/>
                  </a:cubicBezTo>
                  <a:cubicBezTo>
                    <a:pt x="54" y="20"/>
                    <a:pt x="54" y="20"/>
                    <a:pt x="55" y="20"/>
                  </a:cubicBezTo>
                  <a:cubicBezTo>
                    <a:pt x="56" y="20"/>
                    <a:pt x="57" y="21"/>
                    <a:pt x="58" y="21"/>
                  </a:cubicBezTo>
                  <a:cubicBezTo>
                    <a:pt x="60" y="21"/>
                    <a:pt x="62" y="21"/>
                    <a:pt x="64" y="21"/>
                  </a:cubicBezTo>
                  <a:cubicBezTo>
                    <a:pt x="64" y="21"/>
                    <a:pt x="65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2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8" y="18"/>
                    <a:pt x="69" y="16"/>
                    <a:pt x="71" y="15"/>
                  </a:cubicBezTo>
                  <a:cubicBezTo>
                    <a:pt x="72" y="14"/>
                    <a:pt x="72" y="13"/>
                    <a:pt x="74" y="12"/>
                  </a:cubicBezTo>
                  <a:cubicBezTo>
                    <a:pt x="75" y="12"/>
                    <a:pt x="77" y="12"/>
                    <a:pt x="78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79" y="13"/>
                    <a:pt x="80" y="13"/>
                    <a:pt x="80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1" y="12"/>
                    <a:pt x="81" y="12"/>
                    <a:pt x="82" y="12"/>
                  </a:cubicBezTo>
                  <a:cubicBezTo>
                    <a:pt x="83" y="12"/>
                    <a:pt x="84" y="12"/>
                    <a:pt x="85" y="12"/>
                  </a:cubicBezTo>
                  <a:cubicBezTo>
                    <a:pt x="86" y="11"/>
                    <a:pt x="87" y="11"/>
                    <a:pt x="87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89" y="12"/>
                    <a:pt x="91" y="11"/>
                    <a:pt x="91" y="10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3" y="6"/>
                    <a:pt x="95" y="5"/>
                    <a:pt x="96" y="3"/>
                  </a:cubicBezTo>
                  <a:cubicBezTo>
                    <a:pt x="97" y="3"/>
                    <a:pt x="98" y="2"/>
                    <a:pt x="99" y="1"/>
                  </a:cubicBezTo>
                  <a:cubicBezTo>
                    <a:pt x="100" y="1"/>
                    <a:pt x="101" y="0"/>
                    <a:pt x="104" y="0"/>
                  </a:cubicBezTo>
                  <a:cubicBezTo>
                    <a:pt x="106" y="0"/>
                    <a:pt x="106" y="0"/>
                    <a:pt x="106" y="0"/>
                  </a:cubicBezTo>
                  <a:cubicBezTo>
                    <a:pt x="107" y="1"/>
                    <a:pt x="107" y="1"/>
                    <a:pt x="107" y="1"/>
                  </a:cubicBezTo>
                  <a:cubicBezTo>
                    <a:pt x="108" y="1"/>
                    <a:pt x="109" y="1"/>
                    <a:pt x="110" y="1"/>
                  </a:cubicBezTo>
                  <a:cubicBezTo>
                    <a:pt x="110" y="2"/>
                    <a:pt x="111" y="2"/>
                    <a:pt x="112" y="2"/>
                  </a:cubicBezTo>
                  <a:cubicBezTo>
                    <a:pt x="113" y="3"/>
                    <a:pt x="113" y="3"/>
                    <a:pt x="113" y="3"/>
                  </a:cubicBezTo>
                  <a:cubicBezTo>
                    <a:pt x="114" y="3"/>
                    <a:pt x="114" y="3"/>
                    <a:pt x="114" y="3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4" y="4"/>
                    <a:pt x="114" y="4"/>
                    <a:pt x="114" y="4"/>
                  </a:cubicBezTo>
                  <a:cubicBezTo>
                    <a:pt x="114" y="4"/>
                    <a:pt x="115" y="4"/>
                    <a:pt x="116" y="5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12" y="9"/>
                    <a:pt x="113" y="9"/>
                    <a:pt x="112" y="9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112" y="9"/>
                    <a:pt x="112" y="9"/>
                    <a:pt x="112" y="9"/>
                  </a:cubicBezTo>
                  <a:cubicBezTo>
                    <a:pt x="110" y="10"/>
                    <a:pt x="110" y="10"/>
                    <a:pt x="110" y="10"/>
                  </a:cubicBezTo>
                  <a:cubicBezTo>
                    <a:pt x="109" y="9"/>
                    <a:pt x="108" y="9"/>
                    <a:pt x="108" y="9"/>
                  </a:cubicBezTo>
                  <a:cubicBezTo>
                    <a:pt x="107" y="9"/>
                    <a:pt x="106" y="9"/>
                    <a:pt x="105" y="9"/>
                  </a:cubicBezTo>
                  <a:cubicBezTo>
                    <a:pt x="104" y="9"/>
                    <a:pt x="104" y="9"/>
                    <a:pt x="104" y="9"/>
                  </a:cubicBezTo>
                  <a:cubicBezTo>
                    <a:pt x="103" y="8"/>
                    <a:pt x="102" y="8"/>
                    <a:pt x="103" y="8"/>
                  </a:cubicBezTo>
                  <a:cubicBezTo>
                    <a:pt x="104" y="8"/>
                    <a:pt x="104" y="8"/>
                    <a:pt x="103" y="9"/>
                  </a:cubicBezTo>
                  <a:cubicBezTo>
                    <a:pt x="103" y="9"/>
                    <a:pt x="103" y="9"/>
                    <a:pt x="102" y="10"/>
                  </a:cubicBezTo>
                  <a:cubicBezTo>
                    <a:pt x="101" y="11"/>
                    <a:pt x="100" y="12"/>
                    <a:pt x="99" y="13"/>
                  </a:cubicBezTo>
                  <a:cubicBezTo>
                    <a:pt x="98" y="15"/>
                    <a:pt x="98" y="15"/>
                    <a:pt x="98" y="15"/>
                  </a:cubicBezTo>
                  <a:cubicBezTo>
                    <a:pt x="97" y="16"/>
                    <a:pt x="97" y="16"/>
                    <a:pt x="97" y="16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6" y="17"/>
                    <a:pt x="96" y="17"/>
                    <a:pt x="96" y="17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5" y="18"/>
                    <a:pt x="95" y="18"/>
                    <a:pt x="95" y="18"/>
                  </a:cubicBezTo>
                  <a:cubicBezTo>
                    <a:pt x="94" y="18"/>
                    <a:pt x="94" y="18"/>
                    <a:pt x="94" y="19"/>
                  </a:cubicBezTo>
                  <a:cubicBezTo>
                    <a:pt x="93" y="19"/>
                    <a:pt x="93" y="19"/>
                    <a:pt x="93" y="19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8" y="19"/>
                    <a:pt x="88" y="19"/>
                    <a:pt x="88" y="19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5" y="19"/>
                    <a:pt x="84" y="19"/>
                    <a:pt x="83" y="19"/>
                  </a:cubicBezTo>
                  <a:cubicBezTo>
                    <a:pt x="82" y="19"/>
                    <a:pt x="81" y="19"/>
                    <a:pt x="80" y="19"/>
                  </a:cubicBezTo>
                  <a:cubicBezTo>
                    <a:pt x="79" y="19"/>
                    <a:pt x="78" y="19"/>
                    <a:pt x="78" y="18"/>
                  </a:cubicBezTo>
                  <a:cubicBezTo>
                    <a:pt x="77" y="18"/>
                    <a:pt x="77" y="18"/>
                    <a:pt x="76" y="18"/>
                  </a:cubicBezTo>
                  <a:cubicBezTo>
                    <a:pt x="76" y="17"/>
                    <a:pt x="76" y="17"/>
                    <a:pt x="76" y="17"/>
                  </a:cubicBezTo>
                  <a:cubicBezTo>
                    <a:pt x="76" y="17"/>
                    <a:pt x="76" y="17"/>
                    <a:pt x="75" y="16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7" y="17"/>
                    <a:pt x="77" y="17"/>
                    <a:pt x="77" y="17"/>
                  </a:cubicBezTo>
                  <a:cubicBezTo>
                    <a:pt x="76" y="17"/>
                    <a:pt x="76" y="17"/>
                    <a:pt x="75" y="17"/>
                  </a:cubicBezTo>
                  <a:cubicBezTo>
                    <a:pt x="75" y="17"/>
                    <a:pt x="74" y="18"/>
                    <a:pt x="74" y="18"/>
                  </a:cubicBezTo>
                  <a:cubicBezTo>
                    <a:pt x="72" y="19"/>
                    <a:pt x="71" y="20"/>
                    <a:pt x="70" y="22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8" y="24"/>
                    <a:pt x="68" y="24"/>
                  </a:cubicBezTo>
                  <a:cubicBezTo>
                    <a:pt x="67" y="24"/>
                    <a:pt x="67" y="25"/>
                    <a:pt x="67" y="25"/>
                  </a:cubicBezTo>
                  <a:cubicBezTo>
                    <a:pt x="66" y="25"/>
                    <a:pt x="65" y="25"/>
                    <a:pt x="63" y="25"/>
                  </a:cubicBezTo>
                  <a:cubicBezTo>
                    <a:pt x="61" y="24"/>
                    <a:pt x="59" y="24"/>
                    <a:pt x="57" y="24"/>
                  </a:cubicBezTo>
                  <a:cubicBezTo>
                    <a:pt x="56" y="24"/>
                    <a:pt x="55" y="23"/>
                    <a:pt x="54" y="23"/>
                  </a:cubicBezTo>
                  <a:cubicBezTo>
                    <a:pt x="53" y="23"/>
                    <a:pt x="52" y="22"/>
                    <a:pt x="51" y="22"/>
                  </a:cubicBezTo>
                  <a:cubicBezTo>
                    <a:pt x="50" y="21"/>
                    <a:pt x="50" y="21"/>
                    <a:pt x="49" y="21"/>
                  </a:cubicBezTo>
                  <a:cubicBezTo>
                    <a:pt x="49" y="21"/>
                    <a:pt x="48" y="21"/>
                    <a:pt x="47" y="21"/>
                  </a:cubicBezTo>
                  <a:cubicBezTo>
                    <a:pt x="46" y="22"/>
                    <a:pt x="45" y="24"/>
                    <a:pt x="44" y="25"/>
                  </a:cubicBezTo>
                  <a:cubicBezTo>
                    <a:pt x="44" y="26"/>
                    <a:pt x="43" y="27"/>
                    <a:pt x="41" y="28"/>
                  </a:cubicBezTo>
                  <a:cubicBezTo>
                    <a:pt x="40" y="29"/>
                    <a:pt x="39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3" y="29"/>
                    <a:pt x="30" y="28"/>
                    <a:pt x="27" y="28"/>
                  </a:cubicBezTo>
                  <a:cubicBezTo>
                    <a:pt x="25" y="27"/>
                    <a:pt x="23" y="27"/>
                    <a:pt x="21" y="26"/>
                  </a:cubicBezTo>
                  <a:cubicBezTo>
                    <a:pt x="20" y="26"/>
                    <a:pt x="19" y="25"/>
                    <a:pt x="18" y="24"/>
                  </a:cubicBezTo>
                  <a:cubicBezTo>
                    <a:pt x="18" y="25"/>
                    <a:pt x="19" y="25"/>
                    <a:pt x="19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19" y="25"/>
                    <a:pt x="19" y="26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9"/>
                    <a:pt x="15" y="30"/>
                    <a:pt x="13" y="31"/>
                  </a:cubicBezTo>
                  <a:cubicBezTo>
                    <a:pt x="13" y="32"/>
                    <a:pt x="13" y="32"/>
                    <a:pt x="12" y="32"/>
                  </a:cubicBezTo>
                  <a:cubicBezTo>
                    <a:pt x="12" y="32"/>
                    <a:pt x="12" y="33"/>
                    <a:pt x="11" y="33"/>
                  </a:cubicBezTo>
                  <a:cubicBezTo>
                    <a:pt x="10" y="34"/>
                    <a:pt x="9" y="35"/>
                    <a:pt x="8" y="35"/>
                  </a:cubicBezTo>
                  <a:cubicBezTo>
                    <a:pt x="6" y="35"/>
                    <a:pt x="5" y="35"/>
                    <a:pt x="4" y="35"/>
                  </a:cubicBezTo>
                  <a:cubicBezTo>
                    <a:pt x="2" y="35"/>
                    <a:pt x="1" y="34"/>
                    <a:pt x="0" y="33"/>
                  </a:cubicBezTo>
                  <a:lnTo>
                    <a:pt x="3" y="28"/>
                  </a:lnTo>
                  <a:close/>
                </a:path>
              </a:pathLst>
            </a:custGeom>
            <a:solidFill>
              <a:srgbClr val="B8C8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35" name="Freeform 886">
              <a:extLst>
                <a:ext uri="{FF2B5EF4-FFF2-40B4-BE49-F238E27FC236}">
                  <a16:creationId xmlns:a16="http://schemas.microsoft.com/office/drawing/2014/main" id="{72285B4D-FA10-4227-97BA-EF40454E78A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17658" y="2892737"/>
              <a:ext cx="331986" cy="91480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7" y="27"/>
                </a:cxn>
                <a:cxn ang="0">
                  <a:pos x="18" y="18"/>
                </a:cxn>
                <a:cxn ang="0">
                  <a:pos x="35" y="23"/>
                </a:cxn>
                <a:cxn ang="0">
                  <a:pos x="40" y="21"/>
                </a:cxn>
                <a:cxn ang="0">
                  <a:pos x="50" y="17"/>
                </a:cxn>
                <a:cxn ang="0">
                  <a:pos x="65" y="20"/>
                </a:cxn>
                <a:cxn ang="0">
                  <a:pos x="76" y="12"/>
                </a:cxn>
                <a:cxn ang="0">
                  <a:pos x="81" y="12"/>
                </a:cxn>
                <a:cxn ang="0">
                  <a:pos x="91" y="11"/>
                </a:cxn>
                <a:cxn ang="0">
                  <a:pos x="102" y="1"/>
                </a:cxn>
                <a:cxn ang="0">
                  <a:pos x="112" y="4"/>
                </a:cxn>
              </a:cxnLst>
              <a:rect l="0" t="0" r="r" b="b"/>
              <a:pathLst>
                <a:path w="112" h="31">
                  <a:moveTo>
                    <a:pt x="0" y="28"/>
                  </a:moveTo>
                  <a:cubicBezTo>
                    <a:pt x="0" y="28"/>
                    <a:pt x="3" y="31"/>
                    <a:pt x="7" y="27"/>
                  </a:cubicBezTo>
                  <a:cubicBezTo>
                    <a:pt x="12" y="23"/>
                    <a:pt x="16" y="16"/>
                    <a:pt x="18" y="18"/>
                  </a:cubicBezTo>
                  <a:cubicBezTo>
                    <a:pt x="21" y="21"/>
                    <a:pt x="35" y="23"/>
                    <a:pt x="35" y="23"/>
                  </a:cubicBezTo>
                  <a:cubicBezTo>
                    <a:pt x="35" y="23"/>
                    <a:pt x="38" y="24"/>
                    <a:pt x="40" y="21"/>
                  </a:cubicBezTo>
                  <a:cubicBezTo>
                    <a:pt x="42" y="18"/>
                    <a:pt x="45" y="14"/>
                    <a:pt x="50" y="17"/>
                  </a:cubicBezTo>
                  <a:cubicBezTo>
                    <a:pt x="55" y="20"/>
                    <a:pt x="65" y="20"/>
                    <a:pt x="65" y="20"/>
                  </a:cubicBezTo>
                  <a:cubicBezTo>
                    <a:pt x="66" y="19"/>
                    <a:pt x="71" y="10"/>
                    <a:pt x="76" y="12"/>
                  </a:cubicBezTo>
                  <a:cubicBezTo>
                    <a:pt x="76" y="12"/>
                    <a:pt x="76" y="13"/>
                    <a:pt x="81" y="12"/>
                  </a:cubicBezTo>
                  <a:cubicBezTo>
                    <a:pt x="85" y="12"/>
                    <a:pt x="90" y="12"/>
                    <a:pt x="91" y="11"/>
                  </a:cubicBezTo>
                  <a:cubicBezTo>
                    <a:pt x="92" y="11"/>
                    <a:pt x="98" y="0"/>
                    <a:pt x="102" y="1"/>
                  </a:cubicBezTo>
                  <a:cubicBezTo>
                    <a:pt x="106" y="2"/>
                    <a:pt x="111" y="3"/>
                    <a:pt x="112" y="4"/>
                  </a:cubicBezTo>
                </a:path>
              </a:pathLst>
            </a:custGeom>
            <a:noFill/>
            <a:ln w="5334" cap="flat">
              <a:solidFill>
                <a:srgbClr val="3BA4B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  <p:sp>
          <p:nvSpPr>
            <p:cNvPr id="236" name="Freeform 887">
              <a:extLst>
                <a:ext uri="{FF2B5EF4-FFF2-40B4-BE49-F238E27FC236}">
                  <a16:creationId xmlns:a16="http://schemas.microsoft.com/office/drawing/2014/main" id="{F952504B-221A-47E7-811A-286C962A7B4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17658" y="2832242"/>
              <a:ext cx="331986" cy="149024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8" y="45"/>
                </a:cxn>
                <a:cxn ang="0">
                  <a:pos x="19" y="32"/>
                </a:cxn>
                <a:cxn ang="0">
                  <a:pos x="34" y="34"/>
                </a:cxn>
                <a:cxn ang="0">
                  <a:pos x="38" y="36"/>
                </a:cxn>
                <a:cxn ang="0">
                  <a:pos x="46" y="29"/>
                </a:cxn>
                <a:cxn ang="0">
                  <a:pos x="55" y="29"/>
                </a:cxn>
                <a:cxn ang="0">
                  <a:pos x="66" y="33"/>
                </a:cxn>
                <a:cxn ang="0">
                  <a:pos x="79" y="21"/>
                </a:cxn>
                <a:cxn ang="0">
                  <a:pos x="91" y="26"/>
                </a:cxn>
                <a:cxn ang="0">
                  <a:pos x="101" y="1"/>
                </a:cxn>
                <a:cxn ang="0">
                  <a:pos x="112" y="10"/>
                </a:cxn>
              </a:cxnLst>
              <a:rect l="0" t="0" r="r" b="b"/>
              <a:pathLst>
                <a:path w="112" h="50">
                  <a:moveTo>
                    <a:pt x="0" y="45"/>
                  </a:moveTo>
                  <a:cubicBezTo>
                    <a:pt x="0" y="45"/>
                    <a:pt x="4" y="50"/>
                    <a:pt x="8" y="45"/>
                  </a:cubicBezTo>
                  <a:cubicBezTo>
                    <a:pt x="11" y="40"/>
                    <a:pt x="14" y="31"/>
                    <a:pt x="19" y="32"/>
                  </a:cubicBezTo>
                  <a:cubicBezTo>
                    <a:pt x="24" y="33"/>
                    <a:pt x="31" y="33"/>
                    <a:pt x="34" y="34"/>
                  </a:cubicBezTo>
                  <a:cubicBezTo>
                    <a:pt x="37" y="35"/>
                    <a:pt x="36" y="37"/>
                    <a:pt x="38" y="36"/>
                  </a:cubicBezTo>
                  <a:cubicBezTo>
                    <a:pt x="40" y="36"/>
                    <a:pt x="44" y="30"/>
                    <a:pt x="46" y="29"/>
                  </a:cubicBezTo>
                  <a:cubicBezTo>
                    <a:pt x="48" y="28"/>
                    <a:pt x="51" y="27"/>
                    <a:pt x="55" y="29"/>
                  </a:cubicBezTo>
                  <a:cubicBezTo>
                    <a:pt x="58" y="30"/>
                    <a:pt x="65" y="36"/>
                    <a:pt x="66" y="33"/>
                  </a:cubicBezTo>
                  <a:cubicBezTo>
                    <a:pt x="67" y="30"/>
                    <a:pt x="72" y="19"/>
                    <a:pt x="79" y="21"/>
                  </a:cubicBezTo>
                  <a:cubicBezTo>
                    <a:pt x="85" y="24"/>
                    <a:pt x="89" y="28"/>
                    <a:pt x="91" y="26"/>
                  </a:cubicBezTo>
                  <a:cubicBezTo>
                    <a:pt x="92" y="24"/>
                    <a:pt x="98" y="0"/>
                    <a:pt x="101" y="1"/>
                  </a:cubicBezTo>
                  <a:cubicBezTo>
                    <a:pt x="103" y="2"/>
                    <a:pt x="109" y="6"/>
                    <a:pt x="112" y="10"/>
                  </a:cubicBezTo>
                </a:path>
              </a:pathLst>
            </a:custGeom>
            <a:noFill/>
            <a:ln w="5334" cap="flat">
              <a:solidFill>
                <a:srgbClr val="404E5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76810" tIns="38405" rIns="76810" bIns="38405" numCol="1" anchor="t" anchorCtr="0" compatLnSpc="1">
              <a:prstTxWarp prst="textNoShape">
                <a:avLst/>
              </a:prstTxWarp>
            </a:bodyPr>
            <a:lstStyle/>
            <a:p>
              <a:endParaRPr lang="en-US" sz="2000" dirty="0"/>
            </a:p>
          </p:txBody>
        </p:sp>
      </p:grpSp>
      <p:sp>
        <p:nvSpPr>
          <p:cNvPr id="238" name="Rechteck 4">
            <a:extLst>
              <a:ext uri="{FF2B5EF4-FFF2-40B4-BE49-F238E27FC236}">
                <a16:creationId xmlns:a16="http://schemas.microsoft.com/office/drawing/2014/main" id="{AC96820F-D401-496F-9907-EB53A04D1D2C}"/>
              </a:ext>
            </a:extLst>
          </p:cNvPr>
          <p:cNvSpPr>
            <a:spLocks/>
          </p:cNvSpPr>
          <p:nvPr/>
        </p:nvSpPr>
        <p:spPr>
          <a:xfrm>
            <a:off x="4862350" y="4343205"/>
            <a:ext cx="2342082" cy="86126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Организация </a:t>
            </a:r>
          </a:p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рабочего </a:t>
            </a:r>
          </a:p>
          <a:p>
            <a:pPr marL="180885" indent="-180885" algn="ctr">
              <a:buClr>
                <a:schemeClr val="accent1"/>
              </a:buClr>
            </a:pPr>
            <a:r>
              <a:rPr lang="ru-RU" sz="1399" b="1" i="1" dirty="0"/>
              <a:t>места обслуживающего персонала   </a:t>
            </a:r>
          </a:p>
        </p:txBody>
      </p:sp>
      <p:sp>
        <p:nvSpPr>
          <p:cNvPr id="239" name="Равнобедренный треугольник 238">
            <a:extLst>
              <a:ext uri="{FF2B5EF4-FFF2-40B4-BE49-F238E27FC236}">
                <a16:creationId xmlns:a16="http://schemas.microsoft.com/office/drawing/2014/main" id="{A11A3E49-1268-41B6-9C43-E76ED5D6CF4F}"/>
              </a:ext>
            </a:extLst>
          </p:cNvPr>
          <p:cNvSpPr/>
          <p:nvPr/>
        </p:nvSpPr>
        <p:spPr>
          <a:xfrm rot="5400000">
            <a:off x="6906488" y="5680344"/>
            <a:ext cx="1089132" cy="294684"/>
          </a:xfrm>
          <a:prstGeom prst="triangl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ru-RU" dirty="0"/>
          </a:p>
        </p:txBody>
      </p:sp>
      <p:sp>
        <p:nvSpPr>
          <p:cNvPr id="240" name="Rechteck 4">
            <a:extLst>
              <a:ext uri="{FF2B5EF4-FFF2-40B4-BE49-F238E27FC236}">
                <a16:creationId xmlns:a16="http://schemas.microsoft.com/office/drawing/2014/main" id="{9BC58F58-F637-4791-83AC-3B31F5F27F4E}"/>
              </a:ext>
            </a:extLst>
          </p:cNvPr>
          <p:cNvSpPr>
            <a:spLocks/>
          </p:cNvSpPr>
          <p:nvPr/>
        </p:nvSpPr>
        <p:spPr>
          <a:xfrm>
            <a:off x="379026" y="1364016"/>
            <a:ext cx="5523134" cy="27837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4000"/>
              </a:lnSpc>
              <a:buClr>
                <a:schemeClr val="accent1"/>
              </a:buClr>
            </a:pPr>
            <a:r>
              <a:rPr lang="ru-RU" sz="1600" b="1" dirty="0">
                <a:solidFill>
                  <a:srgbClr val="FF9000"/>
                </a:solidFill>
              </a:rPr>
              <a:t>Ключевые особенности системы </a:t>
            </a:r>
            <a:r>
              <a:rPr lang="ru-RU" sz="1600" b="1" dirty="0">
                <a:solidFill>
                  <a:srgbClr val="FF9000"/>
                </a:solidFill>
                <a:sym typeface="Wingdings" panose="05000000000000000000" pitchFamily="2" charset="2"/>
              </a:rPr>
              <a:t></a:t>
            </a:r>
          </a:p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b="1" dirty="0">
              <a:solidFill>
                <a:srgbClr val="FF9000"/>
              </a:solidFill>
            </a:endParaRP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Онлайн мониторинг состояния инфраструктуры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Точное позиционирование участков с неисправным состояние ВСП и ремонт по состоянию 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Сокращение расходов на диагностику пути благодаря установки измерительной системы на стандартный подвижной состав (локомотивы, поезда)</a:t>
            </a:r>
            <a:r>
              <a:rPr lang="en-US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 </a:t>
            </a: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и автоматизации обработки данных 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Увеличение пропускной способности участков </a:t>
            </a:r>
          </a:p>
        </p:txBody>
      </p:sp>
    </p:spTree>
    <p:extLst>
      <p:ext uri="{BB962C8B-B14F-4D97-AF65-F5344CB8AC3E}">
        <p14:creationId xmlns:p14="http://schemas.microsoft.com/office/powerpoint/2010/main" val="37897296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MA Siemens Report Track Geometry</a:t>
            </a:r>
            <a:r>
              <a:rPr lang="ru-RU" dirty="0"/>
              <a:t> – диагностика ВСП с помощью оптических датчиков и системы видеонаблюдения</a:t>
            </a:r>
            <a:endParaRPr lang="en-US" dirty="0"/>
          </a:p>
        </p:txBody>
      </p:sp>
      <p:pic>
        <p:nvPicPr>
          <p:cNvPr id="4" name="Grafik 26">
            <a:extLst>
              <a:ext uri="{FF2B5EF4-FFF2-40B4-BE49-F238E27FC236}">
                <a16:creationId xmlns:a16="http://schemas.microsoft.com/office/drawing/2014/main" id="{6F5DF755-E9E6-4D80-BDA1-24751DC893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06563" y="1652153"/>
            <a:ext cx="3975037" cy="4468729"/>
          </a:xfrm>
          <a:prstGeom prst="rect">
            <a:avLst/>
          </a:prstGeom>
        </p:spPr>
      </p:pic>
      <p:grpSp>
        <p:nvGrpSpPr>
          <p:cNvPr id="8" name="Gruppieren 13">
            <a:extLst>
              <a:ext uri="{FF2B5EF4-FFF2-40B4-BE49-F238E27FC236}">
                <a16:creationId xmlns:a16="http://schemas.microsoft.com/office/drawing/2014/main" id="{37BDBCF4-1003-45C5-B08A-ED1294A15144}"/>
              </a:ext>
            </a:extLst>
          </p:cNvPr>
          <p:cNvGrpSpPr/>
          <p:nvPr/>
        </p:nvGrpSpPr>
        <p:grpSpPr>
          <a:xfrm>
            <a:off x="7937765" y="1773257"/>
            <a:ext cx="3731294" cy="3904076"/>
            <a:chOff x="8476537" y="1711574"/>
            <a:chExt cx="3731294" cy="3904076"/>
          </a:xfrm>
        </p:grpSpPr>
        <p:pic>
          <p:nvPicPr>
            <p:cNvPr id="9" name="Grafik 3">
              <a:extLst>
                <a:ext uri="{FF2B5EF4-FFF2-40B4-BE49-F238E27FC236}">
                  <a16:creationId xmlns:a16="http://schemas.microsoft.com/office/drawing/2014/main" id="{B4AE13AD-10B8-4C38-AF46-3C1FFF3871D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6537" y="1711574"/>
              <a:ext cx="3731294" cy="2036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Grafik 2">
              <a:extLst>
                <a:ext uri="{FF2B5EF4-FFF2-40B4-BE49-F238E27FC236}">
                  <a16:creationId xmlns:a16="http://schemas.microsoft.com/office/drawing/2014/main" id="{72C451B5-4539-43D4-8351-94905B501C1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476537" y="3755036"/>
              <a:ext cx="3731294" cy="18606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Rechteck 4">
            <a:extLst>
              <a:ext uri="{FF2B5EF4-FFF2-40B4-BE49-F238E27FC236}">
                <a16:creationId xmlns:a16="http://schemas.microsoft.com/office/drawing/2014/main" id="{A42AC91F-69E0-4BD7-ADC1-41440292FAAB}"/>
              </a:ext>
            </a:extLst>
          </p:cNvPr>
          <p:cNvSpPr>
            <a:spLocks/>
          </p:cNvSpPr>
          <p:nvPr/>
        </p:nvSpPr>
        <p:spPr>
          <a:xfrm>
            <a:off x="410400" y="1652153"/>
            <a:ext cx="6895469" cy="390658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b="1" dirty="0">
              <a:solidFill>
                <a:srgbClr val="FF9000"/>
              </a:solidFill>
            </a:endParaRPr>
          </a:p>
          <a:p>
            <a:pPr>
              <a:lnSpc>
                <a:spcPct val="114000"/>
              </a:lnSpc>
              <a:buClr>
                <a:schemeClr val="accent1"/>
              </a:buClr>
            </a:pPr>
            <a:r>
              <a:rPr lang="ru-RU" sz="1600" b="1" dirty="0">
                <a:solidFill>
                  <a:srgbClr val="FF9000"/>
                </a:solidFill>
              </a:rPr>
              <a:t>Ключевые особенности системы </a:t>
            </a:r>
            <a:r>
              <a:rPr lang="ru-RU" sz="1600" b="1" dirty="0">
                <a:solidFill>
                  <a:srgbClr val="FF9000"/>
                </a:solidFill>
                <a:sym typeface="Wingdings" panose="05000000000000000000" pitchFamily="2" charset="2"/>
              </a:rPr>
              <a:t></a:t>
            </a:r>
          </a:p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b="1" dirty="0">
              <a:solidFill>
                <a:srgbClr val="FF9000"/>
              </a:solidFill>
              <a:sym typeface="Wingdings" panose="05000000000000000000" pitchFamily="2" charset="2"/>
            </a:endParaRP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Параметры геометрии пути, такие как ширина колеи, профиль и износ рельсов, кривизна и др., собираются с помощью инерционной бесконтактной системы измерения с использованием оптических датчиков и систем видеонаблюдения. Каждое измерение и изображение соотносятся с его местоположением, и создаются подробные отчеты для обслуживающего персонала </a:t>
            </a:r>
          </a:p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dirty="0">
              <a:solidFill>
                <a:schemeClr val="accent4">
                  <a:lumMod val="20000"/>
                  <a:lumOff val="80000"/>
                </a:schemeClr>
              </a:solidFill>
            </a:endParaRP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Интерфейсы аккумулируют результаты из точной и актуальной базы данных для планирования технического обслуживания - сочетая ноу-хау Siemens Mobility Railigent в области анализа и визуализации данных с высокоточными сенсорными решениями DMA</a:t>
            </a:r>
          </a:p>
        </p:txBody>
      </p:sp>
    </p:spTree>
    <p:extLst>
      <p:ext uri="{BB962C8B-B14F-4D97-AF65-F5344CB8AC3E}">
        <p14:creationId xmlns:p14="http://schemas.microsoft.com/office/powerpoint/2010/main" val="14761662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kton Siemens Video Track Inspector –</a:t>
            </a:r>
            <a:r>
              <a:rPr lang="ru-RU" dirty="0"/>
              <a:t> новые подходы в диагностике инфраструктуры по видеоизображениям </a:t>
            </a:r>
            <a:endParaRPr lang="en-US" b="0" dirty="0"/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DC43A9B2-4A69-4944-A65C-50C712EF0C2A}"/>
              </a:ext>
            </a:extLst>
          </p:cNvPr>
          <p:cNvGrpSpPr/>
          <p:nvPr/>
        </p:nvGrpSpPr>
        <p:grpSpPr>
          <a:xfrm>
            <a:off x="6299360" y="3837451"/>
            <a:ext cx="3975037" cy="2541749"/>
            <a:chOff x="1135624" y="4286250"/>
            <a:chExt cx="3968462" cy="2323883"/>
          </a:xfrm>
        </p:grpSpPr>
        <p:pic>
          <p:nvPicPr>
            <p:cNvPr id="5" name="Grafik 26">
              <a:extLst>
                <a:ext uri="{FF2B5EF4-FFF2-40B4-BE49-F238E27FC236}">
                  <a16:creationId xmlns:a16="http://schemas.microsoft.com/office/drawing/2014/main" id="{0C1E34C2-C467-49BB-83E4-9141CF55A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5624" y="4286250"/>
              <a:ext cx="3968462" cy="2323883"/>
            </a:xfrm>
            <a:prstGeom prst="rect">
              <a:avLst/>
            </a:prstGeom>
          </p:spPr>
        </p:pic>
        <p:pic>
          <p:nvPicPr>
            <p:cNvPr id="6" name="Picture 9" descr="COVID-19 Great Looking Dashboard! It looks way better than the MOH ...">
              <a:extLst>
                <a:ext uri="{FF2B5EF4-FFF2-40B4-BE49-F238E27FC236}">
                  <a16:creationId xmlns:a16="http://schemas.microsoft.com/office/drawing/2014/main" id="{8229AAFA-2C6E-45D7-8F15-3974B186FB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3430" y="4419600"/>
              <a:ext cx="1876425" cy="1904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11" descr="Maurice Lee on Twitter: &quot;If anyone is interested, because the ...">
              <a:extLst>
                <a:ext uri="{FF2B5EF4-FFF2-40B4-BE49-F238E27FC236}">
                  <a16:creationId xmlns:a16="http://schemas.microsoft.com/office/drawing/2014/main" id="{331F4A0D-E49C-48EF-A75F-BEAAB9DA8D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9856" y="4419600"/>
              <a:ext cx="1880770" cy="1904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AA35EAE9-FCBD-45A5-B761-C53F4E2F80F6}"/>
              </a:ext>
            </a:extLst>
          </p:cNvPr>
          <p:cNvGrpSpPr/>
          <p:nvPr/>
        </p:nvGrpSpPr>
        <p:grpSpPr>
          <a:xfrm>
            <a:off x="2091254" y="3837451"/>
            <a:ext cx="3975037" cy="2541749"/>
            <a:chOff x="1135624" y="4286250"/>
            <a:chExt cx="3968462" cy="2323883"/>
          </a:xfrm>
        </p:grpSpPr>
        <p:pic>
          <p:nvPicPr>
            <p:cNvPr id="9" name="Grafik 26">
              <a:extLst>
                <a:ext uri="{FF2B5EF4-FFF2-40B4-BE49-F238E27FC236}">
                  <a16:creationId xmlns:a16="http://schemas.microsoft.com/office/drawing/2014/main" id="{009E999A-BC16-433F-80AA-3E479E19A9B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35624" y="4286250"/>
              <a:ext cx="3968462" cy="2323883"/>
            </a:xfrm>
            <a:prstGeom prst="rect">
              <a:avLst/>
            </a:prstGeom>
          </p:spPr>
        </p:pic>
        <p:pic>
          <p:nvPicPr>
            <p:cNvPr id="10" name="Picture 9" descr="COVID-19 Great Looking Dashboard! It looks way better than the MOH ...">
              <a:extLst>
                <a:ext uri="{FF2B5EF4-FFF2-40B4-BE49-F238E27FC236}">
                  <a16:creationId xmlns:a16="http://schemas.microsoft.com/office/drawing/2014/main" id="{6DF6C3B0-6133-4470-913B-C6B75A6D9F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3430" y="4419600"/>
              <a:ext cx="1876425" cy="1904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11" descr="Maurice Lee on Twitter: &quot;If anyone is interested, because the ...">
              <a:extLst>
                <a:ext uri="{FF2B5EF4-FFF2-40B4-BE49-F238E27FC236}">
                  <a16:creationId xmlns:a16="http://schemas.microsoft.com/office/drawing/2014/main" id="{F168CF57-BDE3-4A04-B063-69DA3CAF3A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9856" y="4419600"/>
              <a:ext cx="1880770" cy="1904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1" name="Gruppieren 4">
            <a:extLst>
              <a:ext uri="{FF2B5EF4-FFF2-40B4-BE49-F238E27FC236}">
                <a16:creationId xmlns:a16="http://schemas.microsoft.com/office/drawing/2014/main" id="{9509CEBB-F761-49FC-966D-6BA2DEE7BBA8}"/>
              </a:ext>
            </a:extLst>
          </p:cNvPr>
          <p:cNvGrpSpPr>
            <a:grpSpLocks/>
          </p:cNvGrpSpPr>
          <p:nvPr/>
        </p:nvGrpSpPr>
        <p:grpSpPr>
          <a:xfrm>
            <a:off x="2185123" y="3914707"/>
            <a:ext cx="3777537" cy="2189448"/>
            <a:chOff x="7542136" y="1337003"/>
            <a:chExt cx="4646973" cy="2415314"/>
          </a:xfrm>
        </p:grpSpPr>
        <p:pic>
          <p:nvPicPr>
            <p:cNvPr id="242" name="Bild 4">
              <a:extLst>
                <a:ext uri="{FF2B5EF4-FFF2-40B4-BE49-F238E27FC236}">
                  <a16:creationId xmlns:a16="http://schemas.microsoft.com/office/drawing/2014/main" id="{3C93C059-2529-4503-98AC-F450FACF10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42136" y="1337003"/>
              <a:ext cx="4646973" cy="2415314"/>
            </a:xfrm>
            <a:prstGeom prst="rect">
              <a:avLst/>
            </a:prstGeom>
            <a:ln w="771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3" name="Picture 60">
              <a:extLst>
                <a:ext uri="{FF2B5EF4-FFF2-40B4-BE49-F238E27FC236}">
                  <a16:creationId xmlns:a16="http://schemas.microsoft.com/office/drawing/2014/main" id="{CB4A0C37-C1BD-4CDD-8EA8-01EDB950CD2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6200000">
              <a:off x="8475445" y="1059017"/>
              <a:ext cx="475777" cy="219856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244" name="Picture 60">
              <a:extLst>
                <a:ext uri="{FF2B5EF4-FFF2-40B4-BE49-F238E27FC236}">
                  <a16:creationId xmlns:a16="http://schemas.microsoft.com/office/drawing/2014/main" id="{247CEF30-8FEE-4D09-AB08-0D094BDD535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16200000">
              <a:off x="10774145" y="1059017"/>
              <a:ext cx="475777" cy="219856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grpSp>
        <p:nvGrpSpPr>
          <p:cNvPr id="245" name="Gruppieren 5">
            <a:extLst>
              <a:ext uri="{FF2B5EF4-FFF2-40B4-BE49-F238E27FC236}">
                <a16:creationId xmlns:a16="http://schemas.microsoft.com/office/drawing/2014/main" id="{63B393D2-4F53-4255-B80D-CE02C10CA10E}"/>
              </a:ext>
            </a:extLst>
          </p:cNvPr>
          <p:cNvGrpSpPr>
            <a:grpSpLocks/>
          </p:cNvGrpSpPr>
          <p:nvPr/>
        </p:nvGrpSpPr>
        <p:grpSpPr>
          <a:xfrm>
            <a:off x="6386598" y="3947308"/>
            <a:ext cx="3802830" cy="2156913"/>
            <a:chOff x="5739135" y="3280576"/>
            <a:chExt cx="4833233" cy="2495417"/>
          </a:xfrm>
        </p:grpSpPr>
        <p:pic>
          <p:nvPicPr>
            <p:cNvPr id="246" name="Bild 1">
              <a:extLst>
                <a:ext uri="{FF2B5EF4-FFF2-40B4-BE49-F238E27FC236}">
                  <a16:creationId xmlns:a16="http://schemas.microsoft.com/office/drawing/2014/main" id="{83EF0CEF-46F1-45B1-AE30-01D73C2FE6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739135" y="3280576"/>
              <a:ext cx="4833233" cy="2495417"/>
            </a:xfrm>
            <a:prstGeom prst="rect">
              <a:avLst/>
            </a:prstGeom>
            <a:ln w="762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47" name="Picture 59">
              <a:extLst>
                <a:ext uri="{FF2B5EF4-FFF2-40B4-BE49-F238E27FC236}">
                  <a16:creationId xmlns:a16="http://schemas.microsoft.com/office/drawing/2014/main" id="{68234D63-DEF1-41CC-ACB9-31C03AFAF72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rot="5400000">
              <a:off x="7494456" y="3587509"/>
              <a:ext cx="1334101" cy="226828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sp>
        <p:nvSpPr>
          <p:cNvPr id="248" name="Rechteck 4">
            <a:extLst>
              <a:ext uri="{FF2B5EF4-FFF2-40B4-BE49-F238E27FC236}">
                <a16:creationId xmlns:a16="http://schemas.microsoft.com/office/drawing/2014/main" id="{D1A28829-8697-46EE-9E7E-2927414319DF}"/>
              </a:ext>
            </a:extLst>
          </p:cNvPr>
          <p:cNvSpPr>
            <a:spLocks/>
          </p:cNvSpPr>
          <p:nvPr/>
        </p:nvSpPr>
        <p:spPr>
          <a:xfrm>
            <a:off x="379025" y="1364016"/>
            <a:ext cx="11340224" cy="2222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4000"/>
              </a:lnSpc>
              <a:buClr>
                <a:schemeClr val="accent1"/>
              </a:buClr>
            </a:pPr>
            <a:r>
              <a:rPr lang="ru-RU" sz="1600" b="1" dirty="0">
                <a:solidFill>
                  <a:srgbClr val="FF9000"/>
                </a:solidFill>
              </a:rPr>
              <a:t>Ключевые особенности системы </a:t>
            </a:r>
            <a:r>
              <a:rPr lang="ru-RU" sz="1600" b="1" dirty="0">
                <a:solidFill>
                  <a:srgbClr val="FF9000"/>
                </a:solidFill>
                <a:sym typeface="Wingdings" panose="05000000000000000000" pitchFamily="2" charset="2"/>
              </a:rPr>
              <a:t></a:t>
            </a:r>
          </a:p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b="1" dirty="0">
              <a:solidFill>
                <a:srgbClr val="FF9000"/>
              </a:solidFill>
            </a:endParaRP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Использование инструментов и алгоритмов искусственного интеллекта для распознавания неисправностей на железнодорожных участках 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Сообщения о неисправностях регистрируются до того, как они возникнут с помощью автоматического видеообнаружения и анализа неисправностей путей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Алгоритм сочетает в себе ноу-хау Siemens Mobility Railigent® в области искусственного интеллекта с опытом эксплуатации и системой видеонаблюдения Strukton Rail</a:t>
            </a:r>
          </a:p>
        </p:txBody>
      </p:sp>
    </p:spTree>
    <p:extLst>
      <p:ext uri="{BB962C8B-B14F-4D97-AF65-F5344CB8AC3E}">
        <p14:creationId xmlns:p14="http://schemas.microsoft.com/office/powerpoint/2010/main" val="4845587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kton Siemens Video Track Inspector –</a:t>
            </a:r>
            <a:r>
              <a:rPr lang="ru-RU" dirty="0"/>
              <a:t> новые подходы в диагностике инфраструктуры по видеоизображениям  </a:t>
            </a:r>
            <a:r>
              <a:rPr lang="en-US" dirty="0"/>
              <a:t> </a:t>
            </a:r>
          </a:p>
        </p:txBody>
      </p:sp>
      <p:grpSp>
        <p:nvGrpSpPr>
          <p:cNvPr id="249" name="Gruppieren 290">
            <a:extLst>
              <a:ext uri="{FF2B5EF4-FFF2-40B4-BE49-F238E27FC236}">
                <a16:creationId xmlns:a16="http://schemas.microsoft.com/office/drawing/2014/main" id="{4AC3F5D4-5F54-4C51-BF5A-0468352A451A}"/>
              </a:ext>
            </a:extLst>
          </p:cNvPr>
          <p:cNvGrpSpPr/>
          <p:nvPr/>
        </p:nvGrpSpPr>
        <p:grpSpPr>
          <a:xfrm>
            <a:off x="807772" y="2773138"/>
            <a:ext cx="2720576" cy="642088"/>
            <a:chOff x="2063079" y="2210169"/>
            <a:chExt cx="2721993" cy="642422"/>
          </a:xfrm>
        </p:grpSpPr>
        <p:sp>
          <p:nvSpPr>
            <p:cNvPr id="250" name="Freeform 5">
              <a:extLst>
                <a:ext uri="{FF2B5EF4-FFF2-40B4-BE49-F238E27FC236}">
                  <a16:creationId xmlns:a16="http://schemas.microsoft.com/office/drawing/2014/main" id="{7D2197B1-EB61-4A4F-A4A3-B2026B2D2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2074742" y="2432183"/>
              <a:ext cx="1315236" cy="332202"/>
            </a:xfrm>
            <a:custGeom>
              <a:avLst/>
              <a:gdLst>
                <a:gd name="T0" fmla="*/ 0 w 1647"/>
                <a:gd name="T1" fmla="*/ 0 h 416"/>
                <a:gd name="T2" fmla="*/ 0 w 1647"/>
                <a:gd name="T3" fmla="*/ 416 h 416"/>
                <a:gd name="T4" fmla="*/ 48 w 1647"/>
                <a:gd name="T5" fmla="*/ 416 h 416"/>
                <a:gd name="T6" fmla="*/ 48 w 1647"/>
                <a:gd name="T7" fmla="*/ 354 h 416"/>
                <a:gd name="T8" fmla="*/ 426 w 1647"/>
                <a:gd name="T9" fmla="*/ 354 h 416"/>
                <a:gd name="T10" fmla="*/ 426 w 1647"/>
                <a:gd name="T11" fmla="*/ 416 h 416"/>
                <a:gd name="T12" fmla="*/ 1221 w 1647"/>
                <a:gd name="T13" fmla="*/ 416 h 416"/>
                <a:gd name="T14" fmla="*/ 1221 w 1647"/>
                <a:gd name="T15" fmla="*/ 354 h 416"/>
                <a:gd name="T16" fmla="*/ 1599 w 1647"/>
                <a:gd name="T17" fmla="*/ 354 h 416"/>
                <a:gd name="T18" fmla="*/ 1599 w 1647"/>
                <a:gd name="T19" fmla="*/ 416 h 416"/>
                <a:gd name="T20" fmla="*/ 1647 w 1647"/>
                <a:gd name="T21" fmla="*/ 416 h 416"/>
                <a:gd name="T22" fmla="*/ 1647 w 1647"/>
                <a:gd name="T23" fmla="*/ 0 h 416"/>
                <a:gd name="T24" fmla="*/ 0 w 1647"/>
                <a:gd name="T25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47" h="416">
                  <a:moveTo>
                    <a:pt x="0" y="0"/>
                  </a:moveTo>
                  <a:lnTo>
                    <a:pt x="0" y="416"/>
                  </a:lnTo>
                  <a:lnTo>
                    <a:pt x="48" y="416"/>
                  </a:lnTo>
                  <a:lnTo>
                    <a:pt x="48" y="354"/>
                  </a:lnTo>
                  <a:lnTo>
                    <a:pt x="426" y="354"/>
                  </a:lnTo>
                  <a:lnTo>
                    <a:pt x="426" y="416"/>
                  </a:lnTo>
                  <a:lnTo>
                    <a:pt x="1221" y="416"/>
                  </a:lnTo>
                  <a:lnTo>
                    <a:pt x="1221" y="354"/>
                  </a:lnTo>
                  <a:lnTo>
                    <a:pt x="1599" y="354"/>
                  </a:lnTo>
                  <a:lnTo>
                    <a:pt x="1599" y="416"/>
                  </a:lnTo>
                  <a:lnTo>
                    <a:pt x="1647" y="416"/>
                  </a:lnTo>
                  <a:lnTo>
                    <a:pt x="164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1" name="Freeform 6">
              <a:extLst>
                <a:ext uri="{FF2B5EF4-FFF2-40B4-BE49-F238E27FC236}">
                  <a16:creationId xmlns:a16="http://schemas.microsoft.com/office/drawing/2014/main" id="{91596CB1-1743-46CC-AAA0-2127021B9304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0742" y="2432183"/>
              <a:ext cx="1374330" cy="332202"/>
            </a:xfrm>
            <a:custGeom>
              <a:avLst/>
              <a:gdLst>
                <a:gd name="T0" fmla="*/ 704 w 728"/>
                <a:gd name="T1" fmla="*/ 110 h 174"/>
                <a:gd name="T2" fmla="*/ 668 w 728"/>
                <a:gd name="T3" fmla="*/ 75 h 174"/>
                <a:gd name="T4" fmla="*/ 548 w 728"/>
                <a:gd name="T5" fmla="*/ 42 h 174"/>
                <a:gd name="T6" fmla="*/ 535 w 728"/>
                <a:gd name="T7" fmla="*/ 8 h 174"/>
                <a:gd name="T8" fmla="*/ 470 w 728"/>
                <a:gd name="T9" fmla="*/ 0 h 174"/>
                <a:gd name="T10" fmla="*/ 0 w 728"/>
                <a:gd name="T11" fmla="*/ 0 h 174"/>
                <a:gd name="T12" fmla="*/ 0 w 728"/>
                <a:gd name="T13" fmla="*/ 174 h 174"/>
                <a:gd name="T14" fmla="*/ 22 w 728"/>
                <a:gd name="T15" fmla="*/ 174 h 174"/>
                <a:gd name="T16" fmla="*/ 22 w 728"/>
                <a:gd name="T17" fmla="*/ 148 h 174"/>
                <a:gd name="T18" fmla="*/ 182 w 728"/>
                <a:gd name="T19" fmla="*/ 148 h 174"/>
                <a:gd name="T20" fmla="*/ 182 w 728"/>
                <a:gd name="T21" fmla="*/ 174 h 174"/>
                <a:gd name="T22" fmla="*/ 400 w 728"/>
                <a:gd name="T23" fmla="*/ 174 h 174"/>
                <a:gd name="T24" fmla="*/ 400 w 728"/>
                <a:gd name="T25" fmla="*/ 148 h 174"/>
                <a:gd name="T26" fmla="*/ 560 w 728"/>
                <a:gd name="T27" fmla="*/ 148 h 174"/>
                <a:gd name="T28" fmla="*/ 560 w 728"/>
                <a:gd name="T29" fmla="*/ 174 h 174"/>
                <a:gd name="T30" fmla="*/ 636 w 728"/>
                <a:gd name="T31" fmla="*/ 174 h 174"/>
                <a:gd name="T32" fmla="*/ 704 w 728"/>
                <a:gd name="T33" fmla="*/ 11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8" h="174">
                  <a:moveTo>
                    <a:pt x="704" y="110"/>
                  </a:moveTo>
                  <a:cubicBezTo>
                    <a:pt x="700" y="105"/>
                    <a:pt x="688" y="90"/>
                    <a:pt x="668" y="75"/>
                  </a:cubicBezTo>
                  <a:cubicBezTo>
                    <a:pt x="611" y="74"/>
                    <a:pt x="574" y="66"/>
                    <a:pt x="548" y="42"/>
                  </a:cubicBezTo>
                  <a:cubicBezTo>
                    <a:pt x="536" y="30"/>
                    <a:pt x="533" y="18"/>
                    <a:pt x="535" y="8"/>
                  </a:cubicBezTo>
                  <a:cubicBezTo>
                    <a:pt x="514" y="3"/>
                    <a:pt x="492" y="0"/>
                    <a:pt x="470" y="0"/>
                  </a:cubicBezTo>
                  <a:cubicBezTo>
                    <a:pt x="346" y="0"/>
                    <a:pt x="0" y="0"/>
                    <a:pt x="0" y="0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8" y="174"/>
                    <a:pt x="22" y="174"/>
                  </a:cubicBezTo>
                  <a:cubicBezTo>
                    <a:pt x="22" y="148"/>
                    <a:pt x="22" y="148"/>
                    <a:pt x="22" y="148"/>
                  </a:cubicBezTo>
                  <a:cubicBezTo>
                    <a:pt x="182" y="148"/>
                    <a:pt x="182" y="148"/>
                    <a:pt x="182" y="148"/>
                  </a:cubicBezTo>
                  <a:cubicBezTo>
                    <a:pt x="182" y="174"/>
                    <a:pt x="182" y="174"/>
                    <a:pt x="182" y="174"/>
                  </a:cubicBezTo>
                  <a:cubicBezTo>
                    <a:pt x="250" y="174"/>
                    <a:pt x="327" y="174"/>
                    <a:pt x="400" y="174"/>
                  </a:cubicBezTo>
                  <a:cubicBezTo>
                    <a:pt x="400" y="148"/>
                    <a:pt x="400" y="148"/>
                    <a:pt x="400" y="148"/>
                  </a:cubicBezTo>
                  <a:cubicBezTo>
                    <a:pt x="560" y="148"/>
                    <a:pt x="560" y="148"/>
                    <a:pt x="560" y="148"/>
                  </a:cubicBezTo>
                  <a:cubicBezTo>
                    <a:pt x="560" y="174"/>
                    <a:pt x="560" y="174"/>
                    <a:pt x="560" y="174"/>
                  </a:cubicBezTo>
                  <a:cubicBezTo>
                    <a:pt x="594" y="174"/>
                    <a:pt x="621" y="174"/>
                    <a:pt x="636" y="174"/>
                  </a:cubicBezTo>
                  <a:cubicBezTo>
                    <a:pt x="728" y="174"/>
                    <a:pt x="718" y="129"/>
                    <a:pt x="704" y="1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2" name="Freeform 7">
              <a:extLst>
                <a:ext uri="{FF2B5EF4-FFF2-40B4-BE49-F238E27FC236}">
                  <a16:creationId xmlns:a16="http://schemas.microsoft.com/office/drawing/2014/main" id="{4699795E-866D-4ED5-AC7F-01D58CD4C35E}"/>
                </a:ext>
              </a:extLst>
            </p:cNvPr>
            <p:cNvSpPr>
              <a:spLocks/>
            </p:cNvSpPr>
            <p:nvPr/>
          </p:nvSpPr>
          <p:spPr bwMode="gray">
            <a:xfrm>
              <a:off x="4426517" y="2456939"/>
              <a:ext cx="222799" cy="109403"/>
            </a:xfrm>
            <a:custGeom>
              <a:avLst/>
              <a:gdLst>
                <a:gd name="T0" fmla="*/ 118 w 118"/>
                <a:gd name="T1" fmla="*/ 57 h 57"/>
                <a:gd name="T2" fmla="*/ 13 w 118"/>
                <a:gd name="T3" fmla="*/ 26 h 57"/>
                <a:gd name="T4" fmla="*/ 1 w 118"/>
                <a:gd name="T5" fmla="*/ 0 h 57"/>
                <a:gd name="T6" fmla="*/ 118 w 118"/>
                <a:gd name="T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" h="57">
                  <a:moveTo>
                    <a:pt x="118" y="57"/>
                  </a:moveTo>
                  <a:cubicBezTo>
                    <a:pt x="66" y="56"/>
                    <a:pt x="34" y="46"/>
                    <a:pt x="13" y="26"/>
                  </a:cubicBezTo>
                  <a:cubicBezTo>
                    <a:pt x="5" y="18"/>
                    <a:pt x="0" y="9"/>
                    <a:pt x="1" y="0"/>
                  </a:cubicBezTo>
                  <a:cubicBezTo>
                    <a:pt x="52" y="14"/>
                    <a:pt x="93" y="39"/>
                    <a:pt x="118" y="5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3" name="Rectangle 8">
              <a:extLst>
                <a:ext uri="{FF2B5EF4-FFF2-40B4-BE49-F238E27FC236}">
                  <a16:creationId xmlns:a16="http://schemas.microsoft.com/office/drawing/2014/main" id="{304804A6-238F-4287-8254-2AC48EF766C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544102" y="2503255"/>
              <a:ext cx="474347" cy="1277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4" name="Freeform 9">
              <a:extLst>
                <a:ext uri="{FF2B5EF4-FFF2-40B4-BE49-F238E27FC236}">
                  <a16:creationId xmlns:a16="http://schemas.microsoft.com/office/drawing/2014/main" id="{A35D8E3D-DAB4-47E3-AF34-5ADCA0D014E2}"/>
                </a:ext>
              </a:extLst>
            </p:cNvPr>
            <p:cNvSpPr>
              <a:spLocks/>
            </p:cNvSpPr>
            <p:nvPr/>
          </p:nvSpPr>
          <p:spPr bwMode="gray">
            <a:xfrm>
              <a:off x="4040809" y="2503255"/>
              <a:ext cx="416052" cy="127770"/>
            </a:xfrm>
            <a:custGeom>
              <a:avLst/>
              <a:gdLst>
                <a:gd name="T0" fmla="*/ 521 w 521"/>
                <a:gd name="T1" fmla="*/ 160 h 160"/>
                <a:gd name="T2" fmla="*/ 0 w 521"/>
                <a:gd name="T3" fmla="*/ 160 h 160"/>
                <a:gd name="T4" fmla="*/ 0 w 521"/>
                <a:gd name="T5" fmla="*/ 0 h 160"/>
                <a:gd name="T6" fmla="*/ 414 w 521"/>
                <a:gd name="T7" fmla="*/ 0 h 160"/>
                <a:gd name="T8" fmla="*/ 521 w 521"/>
                <a:gd name="T9" fmla="*/ 16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1" h="160">
                  <a:moveTo>
                    <a:pt x="521" y="160"/>
                  </a:moveTo>
                  <a:lnTo>
                    <a:pt x="0" y="160"/>
                  </a:lnTo>
                  <a:lnTo>
                    <a:pt x="0" y="0"/>
                  </a:lnTo>
                  <a:lnTo>
                    <a:pt x="414" y="0"/>
                  </a:lnTo>
                  <a:lnTo>
                    <a:pt x="521" y="16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5" name="Rectangle 10">
              <a:extLst>
                <a:ext uri="{FF2B5EF4-FFF2-40B4-BE49-F238E27FC236}">
                  <a16:creationId xmlns:a16="http://schemas.microsoft.com/office/drawing/2014/main" id="{AF131AE0-58BE-4D96-8251-BC3761A50D0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18484" y="2503255"/>
              <a:ext cx="547816" cy="1277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6" name="Rectangle 11">
              <a:extLst>
                <a:ext uri="{FF2B5EF4-FFF2-40B4-BE49-F238E27FC236}">
                  <a16:creationId xmlns:a16="http://schemas.microsoft.com/office/drawing/2014/main" id="{B0EC59CC-9C00-48D6-9C02-2B4FDAEBC0A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791056" y="2503255"/>
              <a:ext cx="570175" cy="1277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7" name="Rectangle 17">
              <a:extLst>
                <a:ext uri="{FF2B5EF4-FFF2-40B4-BE49-F238E27FC236}">
                  <a16:creationId xmlns:a16="http://schemas.microsoft.com/office/drawing/2014/main" id="{27BF7688-A352-46EB-8875-BA12E713381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099498" y="2690120"/>
              <a:ext cx="1265726" cy="742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8" name="Rectangle 18">
              <a:extLst>
                <a:ext uri="{FF2B5EF4-FFF2-40B4-BE49-F238E27FC236}">
                  <a16:creationId xmlns:a16="http://schemas.microsoft.com/office/drawing/2014/main" id="{8297A0D2-2C90-42E3-B898-5D37EE8701F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29109" y="2691716"/>
              <a:ext cx="1117991" cy="7266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59" name="Rectangle 19">
              <a:extLst>
                <a:ext uri="{FF2B5EF4-FFF2-40B4-BE49-F238E27FC236}">
                  <a16:creationId xmlns:a16="http://schemas.microsoft.com/office/drawing/2014/main" id="{4A503DC1-8FB6-4AEC-A783-AFE6B93C323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444281" y="2503255"/>
              <a:ext cx="71871" cy="234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60" name="Rectangle 20">
              <a:extLst>
                <a:ext uri="{FF2B5EF4-FFF2-40B4-BE49-F238E27FC236}">
                  <a16:creationId xmlns:a16="http://schemas.microsoft.com/office/drawing/2014/main" id="{C2A59E37-33A7-486A-8CB4-8BF2F557046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116268" y="2503255"/>
              <a:ext cx="74266" cy="234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/>
              <a:endParaRPr lang="en-US" sz="1799" dirty="0">
                <a:solidFill>
                  <a:srgbClr val="ADBECB"/>
                </a:solidFill>
                <a:ea typeface="Arial Unicode MS"/>
              </a:endParaRPr>
            </a:p>
          </p:txBody>
        </p:sp>
        <p:sp>
          <p:nvSpPr>
            <p:cNvPr id="261" name="Parallelogram 84">
              <a:extLst>
                <a:ext uri="{FF2B5EF4-FFF2-40B4-BE49-F238E27FC236}">
                  <a16:creationId xmlns:a16="http://schemas.microsoft.com/office/drawing/2014/main" id="{3694B64F-D299-465C-A058-CBA9420484F2}"/>
                </a:ext>
              </a:extLst>
            </p:cNvPr>
            <p:cNvSpPr/>
            <p:nvPr/>
          </p:nvSpPr>
          <p:spPr bwMode="gray">
            <a:xfrm flipH="1">
              <a:off x="3877797" y="2308160"/>
              <a:ext cx="179864" cy="124024"/>
            </a:xfrm>
            <a:prstGeom prst="parallelogram">
              <a:avLst>
                <a:gd name="adj" fmla="val 108081"/>
              </a:avLst>
            </a:prstGeom>
            <a:solidFill>
              <a:schemeClr val="accent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>
                <a:lnSpc>
                  <a:spcPct val="110000"/>
                </a:lnSpc>
                <a:spcBef>
                  <a:spcPct val="0"/>
                </a:spcBef>
              </a:pPr>
              <a:endParaRPr lang="en-US" sz="1799" b="1" dirty="0">
                <a:solidFill>
                  <a:srgbClr val="000000"/>
                </a:solidFill>
                <a:ea typeface="Arial Unicode MS"/>
              </a:endParaRPr>
            </a:p>
          </p:txBody>
        </p:sp>
        <p:sp>
          <p:nvSpPr>
            <p:cNvPr id="262" name="Parallelogram 85">
              <a:extLst>
                <a:ext uri="{FF2B5EF4-FFF2-40B4-BE49-F238E27FC236}">
                  <a16:creationId xmlns:a16="http://schemas.microsoft.com/office/drawing/2014/main" id="{F13A781D-B3F5-49DA-B699-BA8B9764A237}"/>
                </a:ext>
              </a:extLst>
            </p:cNvPr>
            <p:cNvSpPr/>
            <p:nvPr/>
          </p:nvSpPr>
          <p:spPr bwMode="gray">
            <a:xfrm rot="3048267">
              <a:off x="3816870" y="2280285"/>
              <a:ext cx="112765" cy="85187"/>
            </a:xfrm>
            <a:prstGeom prst="parallelogram">
              <a:avLst>
                <a:gd name="adj" fmla="val 86184"/>
              </a:avLst>
            </a:prstGeom>
            <a:solidFill>
              <a:schemeClr val="accent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>
                <a:lnSpc>
                  <a:spcPct val="110000"/>
                </a:lnSpc>
                <a:spcBef>
                  <a:spcPct val="0"/>
                </a:spcBef>
              </a:pPr>
              <a:endParaRPr lang="en-US" sz="1799" b="1" dirty="0">
                <a:solidFill>
                  <a:srgbClr val="000000"/>
                </a:solidFill>
                <a:ea typeface="Arial Unicode MS"/>
              </a:endParaRPr>
            </a:p>
          </p:txBody>
        </p:sp>
        <p:sp>
          <p:nvSpPr>
            <p:cNvPr id="263" name="Parallelogram 84">
              <a:extLst>
                <a:ext uri="{FF2B5EF4-FFF2-40B4-BE49-F238E27FC236}">
                  <a16:creationId xmlns:a16="http://schemas.microsoft.com/office/drawing/2014/main" id="{551AD82F-7ABC-4837-92E5-FB7ACDB4D26E}"/>
                </a:ext>
              </a:extLst>
            </p:cNvPr>
            <p:cNvSpPr/>
            <p:nvPr/>
          </p:nvSpPr>
          <p:spPr bwMode="gray">
            <a:xfrm flipH="1">
              <a:off x="4629245" y="2773680"/>
              <a:ext cx="125436" cy="78911"/>
            </a:xfrm>
            <a:prstGeom prst="parallelogram">
              <a:avLst>
                <a:gd name="adj" fmla="val 108081"/>
              </a:avLst>
            </a:prstGeom>
            <a:solidFill>
              <a:srgbClr val="00646E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>
                <a:lnSpc>
                  <a:spcPct val="110000"/>
                </a:lnSpc>
                <a:spcBef>
                  <a:spcPct val="0"/>
                </a:spcBef>
              </a:pPr>
              <a:endParaRPr lang="en-US" sz="1799" b="1" dirty="0">
                <a:solidFill>
                  <a:srgbClr val="000000"/>
                </a:solidFill>
                <a:ea typeface="Arial Unicode MS"/>
              </a:endParaRPr>
            </a:p>
          </p:txBody>
        </p:sp>
        <p:sp>
          <p:nvSpPr>
            <p:cNvPr id="264" name="Parallelogram 84">
              <a:extLst>
                <a:ext uri="{FF2B5EF4-FFF2-40B4-BE49-F238E27FC236}">
                  <a16:creationId xmlns:a16="http://schemas.microsoft.com/office/drawing/2014/main" id="{98792BD8-23B9-4DCE-8879-EB5E6141B26C}"/>
                </a:ext>
              </a:extLst>
            </p:cNvPr>
            <p:cNvSpPr/>
            <p:nvPr/>
          </p:nvSpPr>
          <p:spPr bwMode="gray">
            <a:xfrm flipH="1">
              <a:off x="4568909" y="2773680"/>
              <a:ext cx="125436" cy="78911"/>
            </a:xfrm>
            <a:prstGeom prst="parallelogram">
              <a:avLst>
                <a:gd name="adj" fmla="val 108081"/>
              </a:avLst>
            </a:prstGeom>
            <a:solidFill>
              <a:srgbClr val="00646E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>
                <a:lnSpc>
                  <a:spcPct val="110000"/>
                </a:lnSpc>
                <a:spcBef>
                  <a:spcPct val="0"/>
                </a:spcBef>
              </a:pPr>
              <a:endParaRPr lang="en-US" sz="1799" b="1" dirty="0">
                <a:solidFill>
                  <a:srgbClr val="000000"/>
                </a:solidFill>
                <a:ea typeface="Arial Unicode MS"/>
              </a:endParaRPr>
            </a:p>
          </p:txBody>
        </p:sp>
        <p:sp>
          <p:nvSpPr>
            <p:cNvPr id="265" name="Parallelogram 84">
              <a:extLst>
                <a:ext uri="{FF2B5EF4-FFF2-40B4-BE49-F238E27FC236}">
                  <a16:creationId xmlns:a16="http://schemas.microsoft.com/office/drawing/2014/main" id="{DDDC3309-E4A5-4FFC-B487-01C6F578D3E3}"/>
                </a:ext>
              </a:extLst>
            </p:cNvPr>
            <p:cNvSpPr/>
            <p:nvPr/>
          </p:nvSpPr>
          <p:spPr bwMode="gray">
            <a:xfrm flipH="1">
              <a:off x="4507767" y="2773680"/>
              <a:ext cx="125436" cy="78911"/>
            </a:xfrm>
            <a:prstGeom prst="parallelogram">
              <a:avLst>
                <a:gd name="adj" fmla="val 108081"/>
              </a:avLst>
            </a:prstGeom>
            <a:solidFill>
              <a:srgbClr val="00646E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>
                <a:lnSpc>
                  <a:spcPct val="110000"/>
                </a:lnSpc>
                <a:spcBef>
                  <a:spcPct val="0"/>
                </a:spcBef>
              </a:pPr>
              <a:endParaRPr lang="en-US" sz="1799" b="1" dirty="0">
                <a:solidFill>
                  <a:srgbClr val="000000"/>
                </a:solidFill>
                <a:ea typeface="Arial Unicode MS"/>
              </a:endParaRPr>
            </a:p>
          </p:txBody>
        </p:sp>
        <p:sp>
          <p:nvSpPr>
            <p:cNvPr id="266" name="Parallelogram 84">
              <a:extLst>
                <a:ext uri="{FF2B5EF4-FFF2-40B4-BE49-F238E27FC236}">
                  <a16:creationId xmlns:a16="http://schemas.microsoft.com/office/drawing/2014/main" id="{CC6FF297-57CD-442B-BA6E-64A9E39B166A}"/>
                </a:ext>
              </a:extLst>
            </p:cNvPr>
            <p:cNvSpPr/>
            <p:nvPr/>
          </p:nvSpPr>
          <p:spPr bwMode="gray">
            <a:xfrm flipH="1">
              <a:off x="3551924" y="2773680"/>
              <a:ext cx="125436" cy="78911"/>
            </a:xfrm>
            <a:prstGeom prst="parallelogram">
              <a:avLst>
                <a:gd name="adj" fmla="val 108081"/>
              </a:avLst>
            </a:prstGeom>
            <a:solidFill>
              <a:srgbClr val="00646E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>
                <a:lnSpc>
                  <a:spcPct val="110000"/>
                </a:lnSpc>
                <a:spcBef>
                  <a:spcPct val="0"/>
                </a:spcBef>
              </a:pPr>
              <a:endParaRPr lang="en-US" sz="1799" b="1" dirty="0">
                <a:solidFill>
                  <a:srgbClr val="000000"/>
                </a:solidFill>
                <a:ea typeface="Arial Unicode MS"/>
              </a:endParaRPr>
            </a:p>
          </p:txBody>
        </p:sp>
        <p:sp>
          <p:nvSpPr>
            <p:cNvPr id="267" name="Parallelogram 84">
              <a:extLst>
                <a:ext uri="{FF2B5EF4-FFF2-40B4-BE49-F238E27FC236}">
                  <a16:creationId xmlns:a16="http://schemas.microsoft.com/office/drawing/2014/main" id="{FB940AA4-738A-44F8-99D7-7977B547010F}"/>
                </a:ext>
              </a:extLst>
            </p:cNvPr>
            <p:cNvSpPr/>
            <p:nvPr/>
          </p:nvSpPr>
          <p:spPr bwMode="gray">
            <a:xfrm flipH="1">
              <a:off x="3489206" y="2773680"/>
              <a:ext cx="125436" cy="78911"/>
            </a:xfrm>
            <a:prstGeom prst="parallelogram">
              <a:avLst>
                <a:gd name="adj" fmla="val 108081"/>
              </a:avLst>
            </a:prstGeom>
            <a:solidFill>
              <a:srgbClr val="00646E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>
                <a:lnSpc>
                  <a:spcPct val="110000"/>
                </a:lnSpc>
                <a:spcBef>
                  <a:spcPct val="0"/>
                </a:spcBef>
              </a:pPr>
              <a:endParaRPr lang="en-US" sz="1799" b="1" dirty="0">
                <a:solidFill>
                  <a:srgbClr val="000000"/>
                </a:solidFill>
                <a:ea typeface="Arial Unicode MS"/>
              </a:endParaRPr>
            </a:p>
          </p:txBody>
        </p:sp>
        <p:sp>
          <p:nvSpPr>
            <p:cNvPr id="268" name="Parallelogram 84">
              <a:extLst>
                <a:ext uri="{FF2B5EF4-FFF2-40B4-BE49-F238E27FC236}">
                  <a16:creationId xmlns:a16="http://schemas.microsoft.com/office/drawing/2014/main" id="{64DEC9B0-BB39-45ED-B91E-D6101636AF18}"/>
                </a:ext>
              </a:extLst>
            </p:cNvPr>
            <p:cNvSpPr/>
            <p:nvPr/>
          </p:nvSpPr>
          <p:spPr bwMode="gray">
            <a:xfrm flipH="1">
              <a:off x="3430411" y="2773680"/>
              <a:ext cx="125436" cy="78911"/>
            </a:xfrm>
            <a:prstGeom prst="parallelogram">
              <a:avLst>
                <a:gd name="adj" fmla="val 108081"/>
              </a:avLst>
            </a:prstGeom>
            <a:solidFill>
              <a:srgbClr val="00646E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 defTabSz="913943">
                <a:lnSpc>
                  <a:spcPct val="110000"/>
                </a:lnSpc>
                <a:spcBef>
                  <a:spcPct val="0"/>
                </a:spcBef>
              </a:pPr>
              <a:endParaRPr lang="en-US" sz="1799" b="1" dirty="0">
                <a:solidFill>
                  <a:srgbClr val="000000"/>
                </a:solidFill>
                <a:ea typeface="Arial Unicode MS"/>
              </a:endParaRPr>
            </a:p>
          </p:txBody>
        </p:sp>
        <p:sp>
          <p:nvSpPr>
            <p:cNvPr id="269" name="Freeform 905">
              <a:extLst>
                <a:ext uri="{FF2B5EF4-FFF2-40B4-BE49-F238E27FC236}">
                  <a16:creationId xmlns:a16="http://schemas.microsoft.com/office/drawing/2014/main" id="{A32066BE-6298-4DB2-BD81-4AF4DA331F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94609" y="2333127"/>
              <a:ext cx="30110" cy="48707"/>
            </a:xfrm>
            <a:custGeom>
              <a:avLst/>
              <a:gdLst>
                <a:gd name="T0" fmla="*/ 16 w 34"/>
                <a:gd name="T1" fmla="*/ 12 h 55"/>
                <a:gd name="T2" fmla="*/ 5 w 34"/>
                <a:gd name="T3" fmla="*/ 18 h 55"/>
                <a:gd name="T4" fmla="*/ 0 w 34"/>
                <a:gd name="T5" fmla="*/ 10 h 55"/>
                <a:gd name="T6" fmla="*/ 17 w 34"/>
                <a:gd name="T7" fmla="*/ 0 h 55"/>
                <a:gd name="T8" fmla="*/ 28 w 34"/>
                <a:gd name="T9" fmla="*/ 0 h 55"/>
                <a:gd name="T10" fmla="*/ 28 w 34"/>
                <a:gd name="T11" fmla="*/ 44 h 55"/>
                <a:gd name="T12" fmla="*/ 34 w 34"/>
                <a:gd name="T13" fmla="*/ 46 h 55"/>
                <a:gd name="T14" fmla="*/ 34 w 34"/>
                <a:gd name="T15" fmla="*/ 55 h 55"/>
                <a:gd name="T16" fmla="*/ 9 w 34"/>
                <a:gd name="T17" fmla="*/ 55 h 55"/>
                <a:gd name="T18" fmla="*/ 9 w 34"/>
                <a:gd name="T19" fmla="*/ 46 h 55"/>
                <a:gd name="T20" fmla="*/ 16 w 34"/>
                <a:gd name="T21" fmla="*/ 44 h 55"/>
                <a:gd name="T22" fmla="*/ 16 w 34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55">
                  <a:moveTo>
                    <a:pt x="16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8" y="0"/>
                  </a:lnTo>
                  <a:lnTo>
                    <a:pt x="28" y="44"/>
                  </a:lnTo>
                  <a:lnTo>
                    <a:pt x="34" y="46"/>
                  </a:lnTo>
                  <a:lnTo>
                    <a:pt x="34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6" y="44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0" name="Freeform 906">
              <a:extLst>
                <a:ext uri="{FF2B5EF4-FFF2-40B4-BE49-F238E27FC236}">
                  <a16:creationId xmlns:a16="http://schemas.microsoft.com/office/drawing/2014/main" id="{FA0D4EE8-C92F-4418-A6A8-E3C9B1E54A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178737" y="2331356"/>
              <a:ext cx="37194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7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7" y="33"/>
                    <a:pt x="4" y="31"/>
                    <a:pt x="2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7" y="24"/>
                    <a:pt x="17" y="17"/>
                  </a:cubicBezTo>
                  <a:cubicBezTo>
                    <a:pt x="17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1" name="Freeform 907">
              <a:extLst>
                <a:ext uri="{FF2B5EF4-FFF2-40B4-BE49-F238E27FC236}">
                  <a16:creationId xmlns:a16="http://schemas.microsoft.com/office/drawing/2014/main" id="{EED90D6C-D494-477A-B2CE-7A9F28216F5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263751" y="2331356"/>
              <a:ext cx="38079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8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7" y="33"/>
                    <a:pt x="4" y="31"/>
                    <a:pt x="2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2" name="Freeform 908">
              <a:extLst>
                <a:ext uri="{FF2B5EF4-FFF2-40B4-BE49-F238E27FC236}">
                  <a16:creationId xmlns:a16="http://schemas.microsoft.com/office/drawing/2014/main" id="{49C59892-EE8C-4112-9E56-01C448B29D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348765" y="2331356"/>
              <a:ext cx="38079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8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3" name="Freeform 909">
              <a:extLst>
                <a:ext uri="{FF2B5EF4-FFF2-40B4-BE49-F238E27FC236}">
                  <a16:creationId xmlns:a16="http://schemas.microsoft.com/office/drawing/2014/main" id="{5BCD732F-8126-4D7C-84FF-442F806096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435552" y="2333127"/>
              <a:ext cx="31880" cy="48707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8 w 36"/>
                <a:gd name="T17" fmla="*/ 55 h 55"/>
                <a:gd name="T18" fmla="*/ 8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8" y="55"/>
                  </a:lnTo>
                  <a:lnTo>
                    <a:pt x="8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4" name="Freeform 910">
              <a:extLst>
                <a:ext uri="{FF2B5EF4-FFF2-40B4-BE49-F238E27FC236}">
                  <a16:creationId xmlns:a16="http://schemas.microsoft.com/office/drawing/2014/main" id="{FAEE5324-4355-4397-B926-49253EFFDD9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518795" y="2331356"/>
              <a:ext cx="38079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4" y="26"/>
                    <a:pt x="23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5" name="Freeform 911">
              <a:extLst>
                <a:ext uri="{FF2B5EF4-FFF2-40B4-BE49-F238E27FC236}">
                  <a16:creationId xmlns:a16="http://schemas.microsoft.com/office/drawing/2014/main" id="{58C9E101-AFC3-45BD-9788-F847DE6D39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605580" y="2333127"/>
              <a:ext cx="31880" cy="48707"/>
            </a:xfrm>
            <a:custGeom>
              <a:avLst/>
              <a:gdLst>
                <a:gd name="T0" fmla="*/ 17 w 36"/>
                <a:gd name="T1" fmla="*/ 12 h 55"/>
                <a:gd name="T2" fmla="*/ 7 w 36"/>
                <a:gd name="T3" fmla="*/ 18 h 55"/>
                <a:gd name="T4" fmla="*/ 0 w 36"/>
                <a:gd name="T5" fmla="*/ 10 h 55"/>
                <a:gd name="T6" fmla="*/ 19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0 w 36"/>
                <a:gd name="T17" fmla="*/ 55 h 55"/>
                <a:gd name="T18" fmla="*/ 10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7" y="18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0" y="55"/>
                  </a:lnTo>
                  <a:lnTo>
                    <a:pt x="10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6" name="Freeform 912">
              <a:extLst>
                <a:ext uri="{FF2B5EF4-FFF2-40B4-BE49-F238E27FC236}">
                  <a16:creationId xmlns:a16="http://schemas.microsoft.com/office/drawing/2014/main" id="{237FDC12-0C0A-401C-9ED6-BE79BA38FEE1}"/>
                </a:ext>
              </a:extLst>
            </p:cNvPr>
            <p:cNvSpPr>
              <a:spLocks/>
            </p:cNvSpPr>
            <p:nvPr/>
          </p:nvSpPr>
          <p:spPr bwMode="gray">
            <a:xfrm>
              <a:off x="2692366" y="2333127"/>
              <a:ext cx="30110" cy="48707"/>
            </a:xfrm>
            <a:custGeom>
              <a:avLst/>
              <a:gdLst>
                <a:gd name="T0" fmla="*/ 15 w 34"/>
                <a:gd name="T1" fmla="*/ 12 h 55"/>
                <a:gd name="T2" fmla="*/ 5 w 34"/>
                <a:gd name="T3" fmla="*/ 18 h 55"/>
                <a:gd name="T4" fmla="*/ 0 w 34"/>
                <a:gd name="T5" fmla="*/ 10 h 55"/>
                <a:gd name="T6" fmla="*/ 17 w 34"/>
                <a:gd name="T7" fmla="*/ 0 h 55"/>
                <a:gd name="T8" fmla="*/ 27 w 34"/>
                <a:gd name="T9" fmla="*/ 0 h 55"/>
                <a:gd name="T10" fmla="*/ 27 w 34"/>
                <a:gd name="T11" fmla="*/ 44 h 55"/>
                <a:gd name="T12" fmla="*/ 34 w 34"/>
                <a:gd name="T13" fmla="*/ 46 h 55"/>
                <a:gd name="T14" fmla="*/ 34 w 34"/>
                <a:gd name="T15" fmla="*/ 55 h 55"/>
                <a:gd name="T16" fmla="*/ 9 w 34"/>
                <a:gd name="T17" fmla="*/ 55 h 55"/>
                <a:gd name="T18" fmla="*/ 9 w 34"/>
                <a:gd name="T19" fmla="*/ 46 h 55"/>
                <a:gd name="T20" fmla="*/ 15 w 34"/>
                <a:gd name="T21" fmla="*/ 44 h 55"/>
                <a:gd name="T22" fmla="*/ 15 w 34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4" y="46"/>
                  </a:lnTo>
                  <a:lnTo>
                    <a:pt x="34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7" name="Freeform 913">
              <a:extLst>
                <a:ext uri="{FF2B5EF4-FFF2-40B4-BE49-F238E27FC236}">
                  <a16:creationId xmlns:a16="http://schemas.microsoft.com/office/drawing/2014/main" id="{F8F8836D-B946-44EE-805B-E2843CE36D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75609" y="2331356"/>
              <a:ext cx="38079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8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7" y="33"/>
                    <a:pt x="4" y="31"/>
                    <a:pt x="2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8" name="Freeform 914">
              <a:extLst>
                <a:ext uri="{FF2B5EF4-FFF2-40B4-BE49-F238E27FC236}">
                  <a16:creationId xmlns:a16="http://schemas.microsoft.com/office/drawing/2014/main" id="{10A8592D-7AAA-44E8-8E2C-60CBA28C4EA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62396" y="2333127"/>
              <a:ext cx="31880" cy="48707"/>
            </a:xfrm>
            <a:custGeom>
              <a:avLst/>
              <a:gdLst>
                <a:gd name="T0" fmla="*/ 16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8 w 36"/>
                <a:gd name="T9" fmla="*/ 0 h 55"/>
                <a:gd name="T10" fmla="*/ 28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6 w 36"/>
                <a:gd name="T21" fmla="*/ 44 h 55"/>
                <a:gd name="T22" fmla="*/ 16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6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8" y="0"/>
                  </a:lnTo>
                  <a:lnTo>
                    <a:pt x="28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6" y="44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79" name="Freeform 915">
              <a:extLst>
                <a:ext uri="{FF2B5EF4-FFF2-40B4-BE49-F238E27FC236}">
                  <a16:creationId xmlns:a16="http://schemas.microsoft.com/office/drawing/2014/main" id="{0D3F71BE-0332-4465-AD5F-A8EC214196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46523" y="2331356"/>
              <a:ext cx="38079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0" name="Freeform 916">
              <a:extLst>
                <a:ext uri="{FF2B5EF4-FFF2-40B4-BE49-F238E27FC236}">
                  <a16:creationId xmlns:a16="http://schemas.microsoft.com/office/drawing/2014/main" id="{8444277D-9B43-4B8B-BEBF-ED4567EAE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3033310" y="2333127"/>
              <a:ext cx="31880" cy="48707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0 w 36"/>
                <a:gd name="T17" fmla="*/ 55 h 55"/>
                <a:gd name="T18" fmla="*/ 10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0" y="55"/>
                  </a:lnTo>
                  <a:lnTo>
                    <a:pt x="10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1" name="Freeform 917">
              <a:extLst>
                <a:ext uri="{FF2B5EF4-FFF2-40B4-BE49-F238E27FC236}">
                  <a16:creationId xmlns:a16="http://schemas.microsoft.com/office/drawing/2014/main" id="{E30B1011-F760-4CBF-8603-F3AE0852AC6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16552" y="2331356"/>
              <a:ext cx="38079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4" y="26"/>
                    <a:pt x="23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2" name="Freeform 918">
              <a:extLst>
                <a:ext uri="{FF2B5EF4-FFF2-40B4-BE49-F238E27FC236}">
                  <a16:creationId xmlns:a16="http://schemas.microsoft.com/office/drawing/2014/main" id="{A296D7E6-3DCB-402B-865F-E278F0E322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01566" y="2331356"/>
              <a:ext cx="38079" cy="50478"/>
            </a:xfrm>
            <a:custGeom>
              <a:avLst/>
              <a:gdLst>
                <a:gd name="T0" fmla="*/ 24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4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4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5" y="26"/>
                    <a:pt x="23" y="29"/>
                  </a:cubicBezTo>
                  <a:cubicBezTo>
                    <a:pt x="21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5" y="0"/>
                    <a:pt x="13" y="0"/>
                  </a:cubicBezTo>
                  <a:cubicBezTo>
                    <a:pt x="18" y="0"/>
                    <a:pt x="22" y="2"/>
                    <a:pt x="24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7" y="28"/>
                    <a:pt x="18" y="24"/>
                    <a:pt x="18" y="17"/>
                  </a:cubicBezTo>
                  <a:cubicBezTo>
                    <a:pt x="18" y="9"/>
                    <a:pt x="17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3" name="Freeform 919">
              <a:extLst>
                <a:ext uri="{FF2B5EF4-FFF2-40B4-BE49-F238E27FC236}">
                  <a16:creationId xmlns:a16="http://schemas.microsoft.com/office/drawing/2014/main" id="{5C873111-2000-4616-A4D4-8360F0DE151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88352" y="2331356"/>
              <a:ext cx="38079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7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6" y="33"/>
                    <a:pt x="12" y="33"/>
                  </a:cubicBezTo>
                  <a:cubicBezTo>
                    <a:pt x="7" y="33"/>
                    <a:pt x="4" y="31"/>
                    <a:pt x="2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8" y="28"/>
                    <a:pt x="12" y="28"/>
                  </a:cubicBezTo>
                  <a:cubicBezTo>
                    <a:pt x="16" y="28"/>
                    <a:pt x="17" y="24"/>
                    <a:pt x="17" y="17"/>
                  </a:cubicBezTo>
                  <a:cubicBezTo>
                    <a:pt x="17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4" name="Freeform 920">
              <a:extLst>
                <a:ext uri="{FF2B5EF4-FFF2-40B4-BE49-F238E27FC236}">
                  <a16:creationId xmlns:a16="http://schemas.microsoft.com/office/drawing/2014/main" id="{F0AF59B5-8CCD-49C2-A908-B06EBDEAFF3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73366" y="2331356"/>
              <a:ext cx="38079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8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7" y="33"/>
                    <a:pt x="4" y="31"/>
                    <a:pt x="2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5" name="Freeform 921">
              <a:extLst>
                <a:ext uri="{FF2B5EF4-FFF2-40B4-BE49-F238E27FC236}">
                  <a16:creationId xmlns:a16="http://schemas.microsoft.com/office/drawing/2014/main" id="{DFEF9938-71CF-4ECF-9C67-777539A2A494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0153" y="2333127"/>
              <a:ext cx="31880" cy="48707"/>
            </a:xfrm>
            <a:custGeom>
              <a:avLst/>
              <a:gdLst>
                <a:gd name="T0" fmla="*/ 16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8 w 36"/>
                <a:gd name="T9" fmla="*/ 0 h 55"/>
                <a:gd name="T10" fmla="*/ 28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6 w 36"/>
                <a:gd name="T21" fmla="*/ 44 h 55"/>
                <a:gd name="T22" fmla="*/ 16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6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8" y="0"/>
                  </a:lnTo>
                  <a:lnTo>
                    <a:pt x="28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6" y="44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6" name="Freeform 922">
              <a:extLst>
                <a:ext uri="{FF2B5EF4-FFF2-40B4-BE49-F238E27FC236}">
                  <a16:creationId xmlns:a16="http://schemas.microsoft.com/office/drawing/2014/main" id="{92DEB1A8-96D8-4A66-ABAB-7691B38A4D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44281" y="2331356"/>
              <a:ext cx="37194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7" name="Freeform 923">
              <a:extLst>
                <a:ext uri="{FF2B5EF4-FFF2-40B4-BE49-F238E27FC236}">
                  <a16:creationId xmlns:a16="http://schemas.microsoft.com/office/drawing/2014/main" id="{1184D3F1-7DB9-4124-A2D0-CD1F2C35E5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629295" y="2331356"/>
              <a:ext cx="38079" cy="50478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8" name="Freeform 924">
              <a:extLst>
                <a:ext uri="{FF2B5EF4-FFF2-40B4-BE49-F238E27FC236}">
                  <a16:creationId xmlns:a16="http://schemas.microsoft.com/office/drawing/2014/main" id="{02CAAF54-45A8-4BA1-90B4-BD90496658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6081" y="2333127"/>
              <a:ext cx="31880" cy="48707"/>
            </a:xfrm>
            <a:custGeom>
              <a:avLst/>
              <a:gdLst>
                <a:gd name="T0" fmla="*/ 17 w 36"/>
                <a:gd name="T1" fmla="*/ 12 h 55"/>
                <a:gd name="T2" fmla="*/ 6 w 36"/>
                <a:gd name="T3" fmla="*/ 18 h 55"/>
                <a:gd name="T4" fmla="*/ 0 w 36"/>
                <a:gd name="T5" fmla="*/ 10 h 55"/>
                <a:gd name="T6" fmla="*/ 18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0 w 36"/>
                <a:gd name="T17" fmla="*/ 55 h 55"/>
                <a:gd name="T18" fmla="*/ 10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6" y="18"/>
                  </a:lnTo>
                  <a:lnTo>
                    <a:pt x="0" y="10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0" y="55"/>
                  </a:lnTo>
                  <a:lnTo>
                    <a:pt x="10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4BB9B9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89" name="Freeform 910">
              <a:extLst>
                <a:ext uri="{FF2B5EF4-FFF2-40B4-BE49-F238E27FC236}">
                  <a16:creationId xmlns:a16="http://schemas.microsoft.com/office/drawing/2014/main" id="{2A7CC6A6-D043-4B15-840B-016D8E8357D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63079" y="2210169"/>
              <a:ext cx="51210" cy="6788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4" y="26"/>
                    <a:pt x="23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0" name="Freeform 911">
              <a:extLst>
                <a:ext uri="{FF2B5EF4-FFF2-40B4-BE49-F238E27FC236}">
                  <a16:creationId xmlns:a16="http://schemas.microsoft.com/office/drawing/2014/main" id="{EA79A907-45C7-4045-8630-ED2B5AB5593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79790" y="2212551"/>
              <a:ext cx="42872" cy="65501"/>
            </a:xfrm>
            <a:custGeom>
              <a:avLst/>
              <a:gdLst>
                <a:gd name="T0" fmla="*/ 17 w 36"/>
                <a:gd name="T1" fmla="*/ 12 h 55"/>
                <a:gd name="T2" fmla="*/ 7 w 36"/>
                <a:gd name="T3" fmla="*/ 18 h 55"/>
                <a:gd name="T4" fmla="*/ 0 w 36"/>
                <a:gd name="T5" fmla="*/ 10 h 55"/>
                <a:gd name="T6" fmla="*/ 19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0 w 36"/>
                <a:gd name="T17" fmla="*/ 55 h 55"/>
                <a:gd name="T18" fmla="*/ 10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7" y="18"/>
                  </a:lnTo>
                  <a:lnTo>
                    <a:pt x="0" y="10"/>
                  </a:lnTo>
                  <a:lnTo>
                    <a:pt x="19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0" y="55"/>
                  </a:lnTo>
                  <a:lnTo>
                    <a:pt x="10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1" name="Freeform 912">
              <a:extLst>
                <a:ext uri="{FF2B5EF4-FFF2-40B4-BE49-F238E27FC236}">
                  <a16:creationId xmlns:a16="http://schemas.microsoft.com/office/drawing/2014/main" id="{EBCA911D-C564-43D4-ACBC-90600606F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2296501" y="2212551"/>
              <a:ext cx="40493" cy="65501"/>
            </a:xfrm>
            <a:custGeom>
              <a:avLst/>
              <a:gdLst>
                <a:gd name="T0" fmla="*/ 15 w 34"/>
                <a:gd name="T1" fmla="*/ 12 h 55"/>
                <a:gd name="T2" fmla="*/ 5 w 34"/>
                <a:gd name="T3" fmla="*/ 18 h 55"/>
                <a:gd name="T4" fmla="*/ 0 w 34"/>
                <a:gd name="T5" fmla="*/ 10 h 55"/>
                <a:gd name="T6" fmla="*/ 17 w 34"/>
                <a:gd name="T7" fmla="*/ 0 h 55"/>
                <a:gd name="T8" fmla="*/ 27 w 34"/>
                <a:gd name="T9" fmla="*/ 0 h 55"/>
                <a:gd name="T10" fmla="*/ 27 w 34"/>
                <a:gd name="T11" fmla="*/ 44 h 55"/>
                <a:gd name="T12" fmla="*/ 34 w 34"/>
                <a:gd name="T13" fmla="*/ 46 h 55"/>
                <a:gd name="T14" fmla="*/ 34 w 34"/>
                <a:gd name="T15" fmla="*/ 55 h 55"/>
                <a:gd name="T16" fmla="*/ 9 w 34"/>
                <a:gd name="T17" fmla="*/ 55 h 55"/>
                <a:gd name="T18" fmla="*/ 9 w 34"/>
                <a:gd name="T19" fmla="*/ 46 h 55"/>
                <a:gd name="T20" fmla="*/ 15 w 34"/>
                <a:gd name="T21" fmla="*/ 44 h 55"/>
                <a:gd name="T22" fmla="*/ 15 w 34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55">
                  <a:moveTo>
                    <a:pt x="15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7" y="0"/>
                  </a:lnTo>
                  <a:lnTo>
                    <a:pt x="27" y="44"/>
                  </a:lnTo>
                  <a:lnTo>
                    <a:pt x="34" y="46"/>
                  </a:lnTo>
                  <a:lnTo>
                    <a:pt x="34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5" y="44"/>
                  </a:lnTo>
                  <a:lnTo>
                    <a:pt x="15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2" name="Freeform 913">
              <a:extLst>
                <a:ext uri="{FF2B5EF4-FFF2-40B4-BE49-F238E27FC236}">
                  <a16:creationId xmlns:a16="http://schemas.microsoft.com/office/drawing/2014/main" id="{2DA64E09-5034-4C8F-BF9B-2652FCFF45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08447" y="2210169"/>
              <a:ext cx="51210" cy="6788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8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7" y="33"/>
                    <a:pt x="4" y="31"/>
                    <a:pt x="2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3" name="Freeform 914">
              <a:extLst>
                <a:ext uri="{FF2B5EF4-FFF2-40B4-BE49-F238E27FC236}">
                  <a16:creationId xmlns:a16="http://schemas.microsoft.com/office/drawing/2014/main" id="{82B5FD01-1D23-4A27-81AB-8E5289791115}"/>
                </a:ext>
              </a:extLst>
            </p:cNvPr>
            <p:cNvSpPr>
              <a:spLocks/>
            </p:cNvSpPr>
            <p:nvPr/>
          </p:nvSpPr>
          <p:spPr bwMode="gray">
            <a:xfrm>
              <a:off x="2525159" y="2212551"/>
              <a:ext cx="42872" cy="65501"/>
            </a:xfrm>
            <a:custGeom>
              <a:avLst/>
              <a:gdLst>
                <a:gd name="T0" fmla="*/ 16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8 w 36"/>
                <a:gd name="T9" fmla="*/ 0 h 55"/>
                <a:gd name="T10" fmla="*/ 28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6 w 36"/>
                <a:gd name="T21" fmla="*/ 44 h 55"/>
                <a:gd name="T22" fmla="*/ 16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6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8" y="0"/>
                  </a:lnTo>
                  <a:lnTo>
                    <a:pt x="28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6" y="44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4" name="Freeform 915">
              <a:extLst>
                <a:ext uri="{FF2B5EF4-FFF2-40B4-BE49-F238E27FC236}">
                  <a16:creationId xmlns:a16="http://schemas.microsoft.com/office/drawing/2014/main" id="{7EB0D34D-30B6-4399-AD29-26ECE97D8B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38295" y="2210169"/>
              <a:ext cx="51210" cy="6788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5" name="Freeform 916">
              <a:extLst>
                <a:ext uri="{FF2B5EF4-FFF2-40B4-BE49-F238E27FC236}">
                  <a16:creationId xmlns:a16="http://schemas.microsoft.com/office/drawing/2014/main" id="{5C4FEA5E-8889-4342-ACB3-4C6C9EF69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5007" y="2212551"/>
              <a:ext cx="42872" cy="65501"/>
            </a:xfrm>
            <a:custGeom>
              <a:avLst/>
              <a:gdLst>
                <a:gd name="T0" fmla="*/ 17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0 w 36"/>
                <a:gd name="T17" fmla="*/ 55 h 55"/>
                <a:gd name="T18" fmla="*/ 10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0" y="55"/>
                  </a:lnTo>
                  <a:lnTo>
                    <a:pt x="10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6" name="Freeform 917">
              <a:extLst>
                <a:ext uri="{FF2B5EF4-FFF2-40B4-BE49-F238E27FC236}">
                  <a16:creationId xmlns:a16="http://schemas.microsoft.com/office/drawing/2014/main" id="{EAA281DD-03A8-48BC-BC9A-4897C5AFFD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66952" y="2210169"/>
              <a:ext cx="51210" cy="6788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4" y="26"/>
                    <a:pt x="23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7" name="Freeform 918">
              <a:extLst>
                <a:ext uri="{FF2B5EF4-FFF2-40B4-BE49-F238E27FC236}">
                  <a16:creationId xmlns:a16="http://schemas.microsoft.com/office/drawing/2014/main" id="{37716BF5-5A5F-4CD5-B027-5A88E8A13D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81281" y="2210169"/>
              <a:ext cx="51210" cy="67883"/>
            </a:xfrm>
            <a:custGeom>
              <a:avLst/>
              <a:gdLst>
                <a:gd name="T0" fmla="*/ 24 w 25"/>
                <a:gd name="T1" fmla="*/ 6 h 33"/>
                <a:gd name="T2" fmla="*/ 25 w 25"/>
                <a:gd name="T3" fmla="*/ 17 h 33"/>
                <a:gd name="T4" fmla="*/ 23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4 w 25"/>
                <a:gd name="T15" fmla="*/ 6 h 33"/>
                <a:gd name="T16" fmla="*/ 8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8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4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5" y="26"/>
                    <a:pt x="23" y="29"/>
                  </a:cubicBezTo>
                  <a:cubicBezTo>
                    <a:pt x="21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5" y="0"/>
                    <a:pt x="13" y="0"/>
                  </a:cubicBezTo>
                  <a:cubicBezTo>
                    <a:pt x="18" y="0"/>
                    <a:pt x="22" y="2"/>
                    <a:pt x="24" y="6"/>
                  </a:cubicBezTo>
                  <a:close/>
                  <a:moveTo>
                    <a:pt x="8" y="16"/>
                  </a:moveTo>
                  <a:cubicBezTo>
                    <a:pt x="8" y="24"/>
                    <a:pt x="9" y="28"/>
                    <a:pt x="13" y="28"/>
                  </a:cubicBezTo>
                  <a:cubicBezTo>
                    <a:pt x="17" y="28"/>
                    <a:pt x="18" y="24"/>
                    <a:pt x="18" y="17"/>
                  </a:cubicBezTo>
                  <a:cubicBezTo>
                    <a:pt x="18" y="9"/>
                    <a:pt x="17" y="6"/>
                    <a:pt x="13" y="6"/>
                  </a:cubicBezTo>
                  <a:cubicBezTo>
                    <a:pt x="9" y="6"/>
                    <a:pt x="8" y="9"/>
                    <a:pt x="8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8" name="Freeform 919">
              <a:extLst>
                <a:ext uri="{FF2B5EF4-FFF2-40B4-BE49-F238E27FC236}">
                  <a16:creationId xmlns:a16="http://schemas.microsoft.com/office/drawing/2014/main" id="{30861F9A-6F1A-49A3-BF80-B745D2ABA21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97992" y="2210169"/>
              <a:ext cx="51210" cy="6788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7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6" y="33"/>
                    <a:pt x="12" y="33"/>
                  </a:cubicBezTo>
                  <a:cubicBezTo>
                    <a:pt x="7" y="33"/>
                    <a:pt x="4" y="31"/>
                    <a:pt x="2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8" y="28"/>
                    <a:pt x="12" y="28"/>
                  </a:cubicBezTo>
                  <a:cubicBezTo>
                    <a:pt x="16" y="28"/>
                    <a:pt x="17" y="24"/>
                    <a:pt x="17" y="17"/>
                  </a:cubicBezTo>
                  <a:cubicBezTo>
                    <a:pt x="17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299" name="Freeform 920">
              <a:extLst>
                <a:ext uri="{FF2B5EF4-FFF2-40B4-BE49-F238E27FC236}">
                  <a16:creationId xmlns:a16="http://schemas.microsoft.com/office/drawing/2014/main" id="{AE16313C-CF14-423D-919D-AE55563963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12320" y="2210169"/>
              <a:ext cx="51210" cy="6788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2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2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2 w 25"/>
                <a:gd name="T19" fmla="*/ 28 h 33"/>
                <a:gd name="T20" fmla="*/ 18 w 25"/>
                <a:gd name="T21" fmla="*/ 17 h 33"/>
                <a:gd name="T22" fmla="*/ 12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2" y="33"/>
                  </a:cubicBezTo>
                  <a:cubicBezTo>
                    <a:pt x="7" y="33"/>
                    <a:pt x="4" y="31"/>
                    <a:pt x="2" y="27"/>
                  </a:cubicBezTo>
                  <a:cubicBezTo>
                    <a:pt x="0" y="25"/>
                    <a:pt x="0" y="21"/>
                    <a:pt x="0" y="16"/>
                  </a:cubicBezTo>
                  <a:cubicBezTo>
                    <a:pt x="0" y="5"/>
                    <a:pt x="4" y="0"/>
                    <a:pt x="12" y="0"/>
                  </a:cubicBezTo>
                  <a:cubicBezTo>
                    <a:pt x="17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2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2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00" name="Freeform 921">
              <a:extLst>
                <a:ext uri="{FF2B5EF4-FFF2-40B4-BE49-F238E27FC236}">
                  <a16:creationId xmlns:a16="http://schemas.microsoft.com/office/drawing/2014/main" id="{1E90F0BD-7C68-41AA-8609-6196D4676D4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29032" y="2212551"/>
              <a:ext cx="42872" cy="65501"/>
            </a:xfrm>
            <a:custGeom>
              <a:avLst/>
              <a:gdLst>
                <a:gd name="T0" fmla="*/ 16 w 36"/>
                <a:gd name="T1" fmla="*/ 12 h 55"/>
                <a:gd name="T2" fmla="*/ 5 w 36"/>
                <a:gd name="T3" fmla="*/ 18 h 55"/>
                <a:gd name="T4" fmla="*/ 0 w 36"/>
                <a:gd name="T5" fmla="*/ 10 h 55"/>
                <a:gd name="T6" fmla="*/ 17 w 36"/>
                <a:gd name="T7" fmla="*/ 0 h 55"/>
                <a:gd name="T8" fmla="*/ 28 w 36"/>
                <a:gd name="T9" fmla="*/ 0 h 55"/>
                <a:gd name="T10" fmla="*/ 28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9 w 36"/>
                <a:gd name="T17" fmla="*/ 55 h 55"/>
                <a:gd name="T18" fmla="*/ 9 w 36"/>
                <a:gd name="T19" fmla="*/ 46 h 55"/>
                <a:gd name="T20" fmla="*/ 16 w 36"/>
                <a:gd name="T21" fmla="*/ 44 h 55"/>
                <a:gd name="T22" fmla="*/ 16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6" y="12"/>
                  </a:moveTo>
                  <a:lnTo>
                    <a:pt x="5" y="18"/>
                  </a:lnTo>
                  <a:lnTo>
                    <a:pt x="0" y="10"/>
                  </a:lnTo>
                  <a:lnTo>
                    <a:pt x="17" y="0"/>
                  </a:lnTo>
                  <a:lnTo>
                    <a:pt x="28" y="0"/>
                  </a:lnTo>
                  <a:lnTo>
                    <a:pt x="28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9" y="55"/>
                  </a:lnTo>
                  <a:lnTo>
                    <a:pt x="9" y="46"/>
                  </a:lnTo>
                  <a:lnTo>
                    <a:pt x="16" y="44"/>
                  </a:lnTo>
                  <a:lnTo>
                    <a:pt x="16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01" name="Freeform 922">
              <a:extLst>
                <a:ext uri="{FF2B5EF4-FFF2-40B4-BE49-F238E27FC236}">
                  <a16:creationId xmlns:a16="http://schemas.microsoft.com/office/drawing/2014/main" id="{4CC7823E-98B5-4FC0-B94B-4B2729B247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42170" y="2210169"/>
              <a:ext cx="50018" cy="6788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4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02" name="Freeform 923">
              <a:extLst>
                <a:ext uri="{FF2B5EF4-FFF2-40B4-BE49-F238E27FC236}">
                  <a16:creationId xmlns:a16="http://schemas.microsoft.com/office/drawing/2014/main" id="{EB14A0C1-9500-4345-8A21-918E91A82B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56497" y="2210169"/>
              <a:ext cx="51210" cy="67883"/>
            </a:xfrm>
            <a:custGeom>
              <a:avLst/>
              <a:gdLst>
                <a:gd name="T0" fmla="*/ 23 w 25"/>
                <a:gd name="T1" fmla="*/ 6 h 33"/>
                <a:gd name="T2" fmla="*/ 25 w 25"/>
                <a:gd name="T3" fmla="*/ 17 h 33"/>
                <a:gd name="T4" fmla="*/ 22 w 25"/>
                <a:gd name="T5" fmla="*/ 29 h 33"/>
                <a:gd name="T6" fmla="*/ 13 w 25"/>
                <a:gd name="T7" fmla="*/ 33 h 33"/>
                <a:gd name="T8" fmla="*/ 2 w 25"/>
                <a:gd name="T9" fmla="*/ 27 h 33"/>
                <a:gd name="T10" fmla="*/ 0 w 25"/>
                <a:gd name="T11" fmla="*/ 16 h 33"/>
                <a:gd name="T12" fmla="*/ 13 w 25"/>
                <a:gd name="T13" fmla="*/ 0 h 33"/>
                <a:gd name="T14" fmla="*/ 23 w 25"/>
                <a:gd name="T15" fmla="*/ 6 h 33"/>
                <a:gd name="T16" fmla="*/ 7 w 25"/>
                <a:gd name="T17" fmla="*/ 16 h 33"/>
                <a:gd name="T18" fmla="*/ 13 w 25"/>
                <a:gd name="T19" fmla="*/ 28 h 33"/>
                <a:gd name="T20" fmla="*/ 18 w 25"/>
                <a:gd name="T21" fmla="*/ 17 h 33"/>
                <a:gd name="T22" fmla="*/ 13 w 25"/>
                <a:gd name="T23" fmla="*/ 6 h 33"/>
                <a:gd name="T24" fmla="*/ 7 w 25"/>
                <a:gd name="T25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5" h="33">
                  <a:moveTo>
                    <a:pt x="23" y="6"/>
                  </a:moveTo>
                  <a:cubicBezTo>
                    <a:pt x="25" y="8"/>
                    <a:pt x="25" y="12"/>
                    <a:pt x="25" y="17"/>
                  </a:cubicBezTo>
                  <a:cubicBezTo>
                    <a:pt x="25" y="22"/>
                    <a:pt x="24" y="26"/>
                    <a:pt x="22" y="29"/>
                  </a:cubicBezTo>
                  <a:cubicBezTo>
                    <a:pt x="20" y="32"/>
                    <a:pt x="17" y="33"/>
                    <a:pt x="13" y="33"/>
                  </a:cubicBezTo>
                  <a:cubicBezTo>
                    <a:pt x="8" y="33"/>
                    <a:pt x="4" y="31"/>
                    <a:pt x="2" y="27"/>
                  </a:cubicBezTo>
                  <a:cubicBezTo>
                    <a:pt x="1" y="25"/>
                    <a:pt x="0" y="21"/>
                    <a:pt x="0" y="16"/>
                  </a:cubicBezTo>
                  <a:cubicBezTo>
                    <a:pt x="0" y="5"/>
                    <a:pt x="4" y="0"/>
                    <a:pt x="13" y="0"/>
                  </a:cubicBezTo>
                  <a:cubicBezTo>
                    <a:pt x="18" y="0"/>
                    <a:pt x="21" y="2"/>
                    <a:pt x="23" y="6"/>
                  </a:cubicBezTo>
                  <a:close/>
                  <a:moveTo>
                    <a:pt x="7" y="16"/>
                  </a:moveTo>
                  <a:cubicBezTo>
                    <a:pt x="7" y="24"/>
                    <a:pt x="9" y="28"/>
                    <a:pt x="13" y="28"/>
                  </a:cubicBezTo>
                  <a:cubicBezTo>
                    <a:pt x="16" y="28"/>
                    <a:pt x="18" y="24"/>
                    <a:pt x="18" y="17"/>
                  </a:cubicBezTo>
                  <a:cubicBezTo>
                    <a:pt x="18" y="9"/>
                    <a:pt x="16" y="6"/>
                    <a:pt x="13" y="6"/>
                  </a:cubicBezTo>
                  <a:cubicBezTo>
                    <a:pt x="9" y="6"/>
                    <a:pt x="7" y="9"/>
                    <a:pt x="7" y="16"/>
                  </a:cubicBez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  <p:sp>
          <p:nvSpPr>
            <p:cNvPr id="303" name="Freeform 924">
              <a:extLst>
                <a:ext uri="{FF2B5EF4-FFF2-40B4-BE49-F238E27FC236}">
                  <a16:creationId xmlns:a16="http://schemas.microsoft.com/office/drawing/2014/main" id="{61BD628B-E297-4AAA-8DB9-C19E2557BDC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3209" y="2212551"/>
              <a:ext cx="42872" cy="65501"/>
            </a:xfrm>
            <a:custGeom>
              <a:avLst/>
              <a:gdLst>
                <a:gd name="T0" fmla="*/ 17 w 36"/>
                <a:gd name="T1" fmla="*/ 12 h 55"/>
                <a:gd name="T2" fmla="*/ 6 w 36"/>
                <a:gd name="T3" fmla="*/ 18 h 55"/>
                <a:gd name="T4" fmla="*/ 0 w 36"/>
                <a:gd name="T5" fmla="*/ 10 h 55"/>
                <a:gd name="T6" fmla="*/ 18 w 36"/>
                <a:gd name="T7" fmla="*/ 0 h 55"/>
                <a:gd name="T8" fmla="*/ 29 w 36"/>
                <a:gd name="T9" fmla="*/ 0 h 55"/>
                <a:gd name="T10" fmla="*/ 29 w 36"/>
                <a:gd name="T11" fmla="*/ 44 h 55"/>
                <a:gd name="T12" fmla="*/ 36 w 36"/>
                <a:gd name="T13" fmla="*/ 46 h 55"/>
                <a:gd name="T14" fmla="*/ 36 w 36"/>
                <a:gd name="T15" fmla="*/ 55 h 55"/>
                <a:gd name="T16" fmla="*/ 10 w 36"/>
                <a:gd name="T17" fmla="*/ 55 h 55"/>
                <a:gd name="T18" fmla="*/ 10 w 36"/>
                <a:gd name="T19" fmla="*/ 46 h 55"/>
                <a:gd name="T20" fmla="*/ 17 w 36"/>
                <a:gd name="T21" fmla="*/ 44 h 55"/>
                <a:gd name="T22" fmla="*/ 17 w 36"/>
                <a:gd name="T23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55">
                  <a:moveTo>
                    <a:pt x="17" y="12"/>
                  </a:moveTo>
                  <a:lnTo>
                    <a:pt x="6" y="18"/>
                  </a:lnTo>
                  <a:lnTo>
                    <a:pt x="0" y="10"/>
                  </a:lnTo>
                  <a:lnTo>
                    <a:pt x="18" y="0"/>
                  </a:lnTo>
                  <a:lnTo>
                    <a:pt x="29" y="0"/>
                  </a:lnTo>
                  <a:lnTo>
                    <a:pt x="29" y="44"/>
                  </a:lnTo>
                  <a:lnTo>
                    <a:pt x="36" y="46"/>
                  </a:lnTo>
                  <a:lnTo>
                    <a:pt x="36" y="55"/>
                  </a:lnTo>
                  <a:lnTo>
                    <a:pt x="10" y="55"/>
                  </a:lnTo>
                  <a:lnTo>
                    <a:pt x="10" y="46"/>
                  </a:lnTo>
                  <a:lnTo>
                    <a:pt x="17" y="44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0F8287"/>
            </a:solidFill>
            <a:ln w="9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392" tIns="45696" rIns="91392" bIns="45696" numCol="1" anchor="t" anchorCtr="0" compatLnSpc="1">
              <a:prstTxWarp prst="textNoShape">
                <a:avLst/>
              </a:prstTxWarp>
            </a:bodyPr>
            <a:lstStyle/>
            <a:p>
              <a:pPr defTabSz="913943">
                <a:lnSpc>
                  <a:spcPct val="110000"/>
                </a:lnSpc>
                <a:spcBef>
                  <a:spcPct val="0"/>
                </a:spcBef>
              </a:pPr>
              <a:endParaRPr lang="en-US" sz="1399" kern="1400" dirty="0">
                <a:solidFill>
                  <a:srgbClr val="000000"/>
                </a:solidFill>
                <a:latin typeface="Arial" charset="0"/>
                <a:ea typeface="Arial Unicode MS"/>
              </a:endParaRPr>
            </a:p>
          </p:txBody>
        </p:sp>
      </p:grpSp>
      <p:grpSp>
        <p:nvGrpSpPr>
          <p:cNvPr id="304" name="Gruppieren 284">
            <a:extLst>
              <a:ext uri="{FF2B5EF4-FFF2-40B4-BE49-F238E27FC236}">
                <a16:creationId xmlns:a16="http://schemas.microsoft.com/office/drawing/2014/main" id="{FD5278E1-A22A-458D-BC00-9E34F453EA1E}"/>
              </a:ext>
            </a:extLst>
          </p:cNvPr>
          <p:cNvGrpSpPr>
            <a:grpSpLocks/>
          </p:cNvGrpSpPr>
          <p:nvPr/>
        </p:nvGrpSpPr>
        <p:grpSpPr>
          <a:xfrm>
            <a:off x="819429" y="3457965"/>
            <a:ext cx="3699917" cy="108968"/>
            <a:chOff x="3828325" y="3436015"/>
            <a:chExt cx="3280238" cy="118446"/>
          </a:xfrm>
        </p:grpSpPr>
        <p:cxnSp>
          <p:nvCxnSpPr>
            <p:cNvPr id="305" name="Gerade Verbindung 116">
              <a:extLst>
                <a:ext uri="{FF2B5EF4-FFF2-40B4-BE49-F238E27FC236}">
                  <a16:creationId xmlns:a16="http://schemas.microsoft.com/office/drawing/2014/main" id="{36B1F5E2-626E-4792-93AF-8E292366E71F}"/>
                </a:ext>
              </a:extLst>
            </p:cNvPr>
            <p:cNvCxnSpPr/>
            <p:nvPr/>
          </p:nvCxnSpPr>
          <p:spPr bwMode="gray">
            <a:xfrm>
              <a:off x="4711809" y="3436015"/>
              <a:ext cx="1181473" cy="1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6" name="Freihandform 117">
              <a:extLst>
                <a:ext uri="{FF2B5EF4-FFF2-40B4-BE49-F238E27FC236}">
                  <a16:creationId xmlns:a16="http://schemas.microsoft.com/office/drawing/2014/main" id="{FF0CB6B4-4E4B-42CB-82A8-5C7304351797}"/>
                </a:ext>
              </a:extLst>
            </p:cNvPr>
            <p:cNvSpPr/>
            <p:nvPr/>
          </p:nvSpPr>
          <p:spPr bwMode="gray">
            <a:xfrm flipH="1">
              <a:off x="5772204" y="3436015"/>
              <a:ext cx="887219" cy="118446"/>
            </a:xfrm>
            <a:custGeom>
              <a:avLst/>
              <a:gdLst>
                <a:gd name="connsiteX0" fmla="*/ 1135856 w 1135856"/>
                <a:gd name="connsiteY0" fmla="*/ 0 h 207169"/>
                <a:gd name="connsiteX1" fmla="*/ 0 w 1135856"/>
                <a:gd name="connsiteY1" fmla="*/ 97631 h 207169"/>
                <a:gd name="connsiteX2" fmla="*/ 1064418 w 1135856"/>
                <a:gd name="connsiteY2" fmla="*/ 207169 h 207169"/>
                <a:gd name="connsiteX0" fmla="*/ 1135856 w 1135856"/>
                <a:gd name="connsiteY0" fmla="*/ 0 h 207169"/>
                <a:gd name="connsiteX1" fmla="*/ 0 w 1135856"/>
                <a:gd name="connsiteY1" fmla="*/ 97631 h 207169"/>
                <a:gd name="connsiteX2" fmla="*/ 1064418 w 1135856"/>
                <a:gd name="connsiteY2" fmla="*/ 207169 h 207169"/>
                <a:gd name="connsiteX0" fmla="*/ 1135856 w 1135856"/>
                <a:gd name="connsiteY0" fmla="*/ 0 h 207169"/>
                <a:gd name="connsiteX1" fmla="*/ 0 w 1135856"/>
                <a:gd name="connsiteY1" fmla="*/ 97631 h 207169"/>
                <a:gd name="connsiteX2" fmla="*/ 1064418 w 1135856"/>
                <a:gd name="connsiteY2" fmla="*/ 207169 h 207169"/>
                <a:gd name="connsiteX0" fmla="*/ 1135856 w 1135856"/>
                <a:gd name="connsiteY0" fmla="*/ 0 h 207169"/>
                <a:gd name="connsiteX1" fmla="*/ 0 w 1135856"/>
                <a:gd name="connsiteY1" fmla="*/ 97631 h 207169"/>
                <a:gd name="connsiteX2" fmla="*/ 1064418 w 1135856"/>
                <a:gd name="connsiteY2" fmla="*/ 207169 h 207169"/>
                <a:gd name="connsiteX0" fmla="*/ 1135856 w 1135856"/>
                <a:gd name="connsiteY0" fmla="*/ 0 h 207386"/>
                <a:gd name="connsiteX1" fmla="*/ 0 w 1135856"/>
                <a:gd name="connsiteY1" fmla="*/ 97631 h 207386"/>
                <a:gd name="connsiteX2" fmla="*/ 1064418 w 1135856"/>
                <a:gd name="connsiteY2" fmla="*/ 207169 h 20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5856" h="207386">
                  <a:moveTo>
                    <a:pt x="1135856" y="0"/>
                  </a:moveTo>
                  <a:cubicBezTo>
                    <a:pt x="731044" y="11113"/>
                    <a:pt x="411956" y="-1588"/>
                    <a:pt x="0" y="97631"/>
                  </a:cubicBezTo>
                  <a:cubicBezTo>
                    <a:pt x="359568" y="160338"/>
                    <a:pt x="702469" y="211137"/>
                    <a:pt x="1064418" y="207169"/>
                  </a:cubicBezTo>
                </a:path>
              </a:pathLst>
            </a:cu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defTabSz="913943"/>
              <a:endParaRPr lang="en-US" sz="3198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sp>
          <p:nvSpPr>
            <p:cNvPr id="307" name="Freihandform 118">
              <a:extLst>
                <a:ext uri="{FF2B5EF4-FFF2-40B4-BE49-F238E27FC236}">
                  <a16:creationId xmlns:a16="http://schemas.microsoft.com/office/drawing/2014/main" id="{7E5E6291-58CD-4290-B79B-08E173CB2D76}"/>
                </a:ext>
              </a:extLst>
            </p:cNvPr>
            <p:cNvSpPr/>
            <p:nvPr/>
          </p:nvSpPr>
          <p:spPr bwMode="gray">
            <a:xfrm>
              <a:off x="6713994" y="3436015"/>
              <a:ext cx="394569" cy="118446"/>
            </a:xfrm>
            <a:custGeom>
              <a:avLst/>
              <a:gdLst>
                <a:gd name="connsiteX0" fmla="*/ 1135856 w 1135856"/>
                <a:gd name="connsiteY0" fmla="*/ 0 h 207169"/>
                <a:gd name="connsiteX1" fmla="*/ 0 w 1135856"/>
                <a:gd name="connsiteY1" fmla="*/ 97631 h 207169"/>
                <a:gd name="connsiteX2" fmla="*/ 1064418 w 1135856"/>
                <a:gd name="connsiteY2" fmla="*/ 207169 h 207169"/>
                <a:gd name="connsiteX0" fmla="*/ 1135856 w 1135856"/>
                <a:gd name="connsiteY0" fmla="*/ 0 h 207169"/>
                <a:gd name="connsiteX1" fmla="*/ 0 w 1135856"/>
                <a:gd name="connsiteY1" fmla="*/ 97631 h 207169"/>
                <a:gd name="connsiteX2" fmla="*/ 1064418 w 1135856"/>
                <a:gd name="connsiteY2" fmla="*/ 207169 h 207169"/>
                <a:gd name="connsiteX0" fmla="*/ 1135856 w 1135856"/>
                <a:gd name="connsiteY0" fmla="*/ 0 h 207169"/>
                <a:gd name="connsiteX1" fmla="*/ 0 w 1135856"/>
                <a:gd name="connsiteY1" fmla="*/ 97631 h 207169"/>
                <a:gd name="connsiteX2" fmla="*/ 1064418 w 1135856"/>
                <a:gd name="connsiteY2" fmla="*/ 207169 h 207169"/>
                <a:gd name="connsiteX0" fmla="*/ 1135856 w 1135856"/>
                <a:gd name="connsiteY0" fmla="*/ 0 h 207169"/>
                <a:gd name="connsiteX1" fmla="*/ 0 w 1135856"/>
                <a:gd name="connsiteY1" fmla="*/ 97631 h 207169"/>
                <a:gd name="connsiteX2" fmla="*/ 1064418 w 1135856"/>
                <a:gd name="connsiteY2" fmla="*/ 207169 h 207169"/>
                <a:gd name="connsiteX0" fmla="*/ 1135856 w 1135856"/>
                <a:gd name="connsiteY0" fmla="*/ 0 h 207386"/>
                <a:gd name="connsiteX1" fmla="*/ 0 w 1135856"/>
                <a:gd name="connsiteY1" fmla="*/ 97631 h 207386"/>
                <a:gd name="connsiteX2" fmla="*/ 1064418 w 1135856"/>
                <a:gd name="connsiteY2" fmla="*/ 207169 h 2073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35856" h="207386">
                  <a:moveTo>
                    <a:pt x="1135856" y="0"/>
                  </a:moveTo>
                  <a:cubicBezTo>
                    <a:pt x="731044" y="11113"/>
                    <a:pt x="411956" y="-1588"/>
                    <a:pt x="0" y="97631"/>
                  </a:cubicBezTo>
                  <a:cubicBezTo>
                    <a:pt x="359568" y="160338"/>
                    <a:pt x="702469" y="211137"/>
                    <a:pt x="1064418" y="207169"/>
                  </a:cubicBezTo>
                </a:path>
              </a:pathLst>
            </a:custGeom>
            <a:noFill/>
            <a:ln w="2857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1pPr>
              <a:lvl2pPr marL="4572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2pPr>
              <a:lvl3pPr marL="9144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3pPr>
              <a:lvl4pPr marL="13716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4pPr>
              <a:lvl5pPr marL="1828800" algn="l" rtl="0" fontAlgn="base">
                <a:spcBef>
                  <a:spcPct val="50000"/>
                </a:spcBef>
                <a:spcAft>
                  <a:spcPct val="0"/>
                </a:spcAft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bg2"/>
                  </a:solidFill>
                  <a:latin typeface="Arial" pitchFamily="34" charset="0"/>
                  <a:ea typeface="ＭＳ Ｐゴシック" charset="-128"/>
                  <a:cs typeface="+mn-cs"/>
                </a:defRPr>
              </a:lvl9pPr>
            </a:lstStyle>
            <a:p>
              <a:pPr defTabSz="913943"/>
              <a:endParaRPr lang="en-US" sz="3198" dirty="0">
                <a:solidFill>
                  <a:srgbClr val="000000"/>
                </a:solidFill>
                <a:latin typeface="Arial" charset="0"/>
                <a:ea typeface="ヒラギノ角ゴ Pro W3" charset="0"/>
              </a:endParaRPr>
            </a:p>
          </p:txBody>
        </p:sp>
        <p:cxnSp>
          <p:nvCxnSpPr>
            <p:cNvPr id="308" name="Gerade Verbindung 120">
              <a:extLst>
                <a:ext uri="{FF2B5EF4-FFF2-40B4-BE49-F238E27FC236}">
                  <a16:creationId xmlns:a16="http://schemas.microsoft.com/office/drawing/2014/main" id="{6E607D43-3165-457E-AE1C-F83C879FB9BD}"/>
                </a:ext>
              </a:extLst>
            </p:cNvPr>
            <p:cNvCxnSpPr/>
            <p:nvPr/>
          </p:nvCxnSpPr>
          <p:spPr bwMode="gray">
            <a:xfrm>
              <a:off x="4654309" y="3554460"/>
              <a:ext cx="1181473" cy="1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9" name="Gerade Verbindung 116">
              <a:extLst>
                <a:ext uri="{FF2B5EF4-FFF2-40B4-BE49-F238E27FC236}">
                  <a16:creationId xmlns:a16="http://schemas.microsoft.com/office/drawing/2014/main" id="{0E425749-F5BB-400F-ACA4-E732C6EB4B78}"/>
                </a:ext>
              </a:extLst>
            </p:cNvPr>
            <p:cNvCxnSpPr/>
            <p:nvPr/>
          </p:nvCxnSpPr>
          <p:spPr bwMode="gray">
            <a:xfrm>
              <a:off x="3828325" y="3436015"/>
              <a:ext cx="1181473" cy="1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0" name="Gerade Verbindung 120">
              <a:extLst>
                <a:ext uri="{FF2B5EF4-FFF2-40B4-BE49-F238E27FC236}">
                  <a16:creationId xmlns:a16="http://schemas.microsoft.com/office/drawing/2014/main" id="{14330F4B-329A-49B8-A516-25066164C8F8}"/>
                </a:ext>
              </a:extLst>
            </p:cNvPr>
            <p:cNvCxnSpPr/>
            <p:nvPr/>
          </p:nvCxnSpPr>
          <p:spPr bwMode="gray">
            <a:xfrm>
              <a:off x="3828325" y="3554460"/>
              <a:ext cx="1181473" cy="1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2" name="Grafik 377">
            <a:extLst>
              <a:ext uri="{FF2B5EF4-FFF2-40B4-BE49-F238E27FC236}">
                <a16:creationId xmlns:a16="http://schemas.microsoft.com/office/drawing/2014/main" id="{DF5E462A-E584-4D5A-AE2C-8BB60FF4DAE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8989" y="5021164"/>
            <a:ext cx="2815133" cy="1524558"/>
          </a:xfrm>
          <a:prstGeom prst="rect">
            <a:avLst/>
          </a:prstGeom>
        </p:spPr>
      </p:pic>
      <p:sp>
        <p:nvSpPr>
          <p:cNvPr id="316" name="Rechteck 13">
            <a:extLst>
              <a:ext uri="{FF2B5EF4-FFF2-40B4-BE49-F238E27FC236}">
                <a16:creationId xmlns:a16="http://schemas.microsoft.com/office/drawing/2014/main" id="{B05CC4A3-0251-4F55-84EB-AF00B6D7316E}"/>
              </a:ext>
            </a:extLst>
          </p:cNvPr>
          <p:cNvSpPr>
            <a:spLocks noChangeAspect="1"/>
          </p:cNvSpPr>
          <p:nvPr/>
        </p:nvSpPr>
        <p:spPr bwMode="auto">
          <a:xfrm>
            <a:off x="334472" y="1846606"/>
            <a:ext cx="408735" cy="40364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defTabSz="913943">
              <a:defRPr/>
            </a:pPr>
            <a:r>
              <a:rPr lang="en-US" sz="1799" b="1" kern="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317" name="Rechteck 13">
            <a:extLst>
              <a:ext uri="{FF2B5EF4-FFF2-40B4-BE49-F238E27FC236}">
                <a16:creationId xmlns:a16="http://schemas.microsoft.com/office/drawing/2014/main" id="{6E420FD7-B0AF-415C-ACE7-23CFFD8CDEFA}"/>
              </a:ext>
            </a:extLst>
          </p:cNvPr>
          <p:cNvSpPr>
            <a:spLocks noChangeAspect="1"/>
          </p:cNvSpPr>
          <p:nvPr/>
        </p:nvSpPr>
        <p:spPr bwMode="auto">
          <a:xfrm>
            <a:off x="334472" y="4207157"/>
            <a:ext cx="408735" cy="40400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defTabSz="913943">
              <a:defRPr/>
            </a:pPr>
            <a:r>
              <a:rPr lang="en-US" sz="1799" b="1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18" name="Textfeld 92">
            <a:extLst>
              <a:ext uri="{FF2B5EF4-FFF2-40B4-BE49-F238E27FC236}">
                <a16:creationId xmlns:a16="http://schemas.microsoft.com/office/drawing/2014/main" id="{EB4CDCB7-068C-4831-9B60-29844DE6B23C}"/>
              </a:ext>
            </a:extLst>
          </p:cNvPr>
          <p:cNvSpPr txBox="1"/>
          <p:nvPr/>
        </p:nvSpPr>
        <p:spPr>
          <a:xfrm>
            <a:off x="743208" y="1846244"/>
            <a:ext cx="4160247" cy="692562"/>
          </a:xfrm>
          <a:prstGeom prst="rect">
            <a:avLst/>
          </a:prstGeom>
          <a:solidFill>
            <a:srgbClr val="41AAAA"/>
          </a:solidFill>
          <a:ln>
            <a:noFill/>
          </a:ln>
        </p:spPr>
        <p:txBody>
          <a:bodyPr wrap="square" lIns="71963" tIns="0" rIns="0" bIns="0" rtlCol="0">
            <a:spAutoFit/>
          </a:bodyPr>
          <a:lstStyle/>
          <a:p>
            <a:pPr defTabSz="913943">
              <a:lnSpc>
                <a:spcPct val="110000"/>
              </a:lnSpc>
            </a:pPr>
            <a:r>
              <a:rPr lang="ru-RU" sz="1400" b="1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Сбор данных</a:t>
            </a:r>
            <a:r>
              <a:rPr lang="en-US" sz="1400" b="1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  <a:r>
              <a:rPr lang="ru-RU" sz="1400" b="1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камера создаёт изображения объектов инфраструктуры с высоким разрешением </a:t>
            </a:r>
            <a:r>
              <a:rPr lang="en-US" sz="1400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 </a:t>
            </a:r>
          </a:p>
        </p:txBody>
      </p:sp>
      <p:sp>
        <p:nvSpPr>
          <p:cNvPr id="319" name="Textfeld 93">
            <a:extLst>
              <a:ext uri="{FF2B5EF4-FFF2-40B4-BE49-F238E27FC236}">
                <a16:creationId xmlns:a16="http://schemas.microsoft.com/office/drawing/2014/main" id="{32C1A47F-1370-4D2C-8AD9-80ECCB1D26D9}"/>
              </a:ext>
            </a:extLst>
          </p:cNvPr>
          <p:cNvSpPr txBox="1"/>
          <p:nvPr/>
        </p:nvSpPr>
        <p:spPr>
          <a:xfrm>
            <a:off x="743208" y="4207520"/>
            <a:ext cx="4153360" cy="692562"/>
          </a:xfrm>
          <a:prstGeom prst="rect">
            <a:avLst/>
          </a:prstGeom>
          <a:solidFill>
            <a:srgbClr val="41AAAA"/>
          </a:solidFill>
          <a:ln>
            <a:noFill/>
          </a:ln>
        </p:spPr>
        <p:txBody>
          <a:bodyPr wrap="square" lIns="71963" tIns="0" rIns="0" bIns="0" rtlCol="0">
            <a:spAutoFit/>
          </a:bodyPr>
          <a:lstStyle/>
          <a:p>
            <a:pPr defTabSz="913943">
              <a:lnSpc>
                <a:spcPct val="110000"/>
              </a:lnSpc>
            </a:pPr>
            <a:r>
              <a:rPr lang="ru-RU" sz="1400" b="1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Передача данных: передача сырых данных в </a:t>
            </a:r>
            <a:r>
              <a:rPr lang="en-US" sz="1400" b="1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ailigent </a:t>
            </a:r>
            <a:r>
              <a:rPr lang="ru-RU" sz="1400" b="1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на базе </a:t>
            </a:r>
            <a:r>
              <a:rPr lang="en-US" sz="1400" b="1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indSphere</a:t>
            </a:r>
            <a:r>
              <a:rPr lang="ru-RU" sz="1400" b="1" dirty="0">
                <a:solidFill>
                  <a:srgbClr val="FFFFF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для их последующей обработки </a:t>
            </a:r>
            <a:endParaRPr lang="en-US" sz="1400" b="1" dirty="0">
              <a:solidFill>
                <a:srgbClr val="FFFFFF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20" name="Grafik 23">
            <a:extLst>
              <a:ext uri="{FF2B5EF4-FFF2-40B4-BE49-F238E27FC236}">
                <a16:creationId xmlns:a16="http://schemas.microsoft.com/office/drawing/2014/main" id="{19FAC88D-830B-4478-ABB9-60783D28CA3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8833" y="2660850"/>
            <a:ext cx="3119993" cy="1444605"/>
          </a:xfrm>
          <a:prstGeom prst="rect">
            <a:avLst/>
          </a:prstGeom>
        </p:spPr>
      </p:pic>
      <p:sp>
        <p:nvSpPr>
          <p:cNvPr id="321" name="Rechteck 13">
            <a:extLst>
              <a:ext uri="{FF2B5EF4-FFF2-40B4-BE49-F238E27FC236}">
                <a16:creationId xmlns:a16="http://schemas.microsoft.com/office/drawing/2014/main" id="{E5E59A47-0CDB-4962-A007-4EDEBCA8E293}"/>
              </a:ext>
            </a:extLst>
          </p:cNvPr>
          <p:cNvSpPr>
            <a:spLocks noChangeAspect="1"/>
          </p:cNvSpPr>
          <p:nvPr/>
        </p:nvSpPr>
        <p:spPr bwMode="auto">
          <a:xfrm>
            <a:off x="6132504" y="1845517"/>
            <a:ext cx="408735" cy="403646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defTabSz="913943">
              <a:defRPr/>
            </a:pPr>
            <a:r>
              <a:rPr lang="en-US" sz="1799" b="1" kern="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322" name="Textfeld 26">
            <a:extLst>
              <a:ext uri="{FF2B5EF4-FFF2-40B4-BE49-F238E27FC236}">
                <a16:creationId xmlns:a16="http://schemas.microsoft.com/office/drawing/2014/main" id="{E75CA153-355A-4256-9723-A718B4B6858F}"/>
              </a:ext>
            </a:extLst>
          </p:cNvPr>
          <p:cNvSpPr txBox="1"/>
          <p:nvPr/>
        </p:nvSpPr>
        <p:spPr>
          <a:xfrm>
            <a:off x="6541239" y="1845155"/>
            <a:ext cx="4160247" cy="692562"/>
          </a:xfrm>
          <a:prstGeom prst="rect">
            <a:avLst/>
          </a:prstGeom>
          <a:solidFill>
            <a:srgbClr val="41AAAA"/>
          </a:solidFill>
          <a:ln>
            <a:noFill/>
          </a:ln>
        </p:spPr>
        <p:txBody>
          <a:bodyPr wrap="square" lIns="71963" tIns="0" rIns="0" bIns="0" rtlCol="0">
            <a:spAutoFit/>
          </a:bodyPr>
          <a:lstStyle/>
          <a:p>
            <a:pPr defTabSz="913943">
              <a:lnSpc>
                <a:spcPct val="110000"/>
              </a:lnSpc>
            </a:pPr>
            <a:r>
              <a:rPr lang="ru-RU" sz="1400" b="1" dirty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Анализ данных: визуализация результатов обработки данных при помощи  передовых алгоритмов </a:t>
            </a:r>
            <a:endParaRPr lang="en-US" sz="1400" b="1" dirty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23" name="Grafik 27">
            <a:extLst>
              <a:ext uri="{FF2B5EF4-FFF2-40B4-BE49-F238E27FC236}">
                <a16:creationId xmlns:a16="http://schemas.microsoft.com/office/drawing/2014/main" id="{4C05FE94-3B0D-4259-AC0A-36D54D77AB5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9309" y="5021164"/>
            <a:ext cx="3129914" cy="1524558"/>
          </a:xfrm>
          <a:prstGeom prst="rect">
            <a:avLst/>
          </a:prstGeom>
        </p:spPr>
      </p:pic>
      <p:sp>
        <p:nvSpPr>
          <p:cNvPr id="324" name="Rechteck 13">
            <a:extLst>
              <a:ext uri="{FF2B5EF4-FFF2-40B4-BE49-F238E27FC236}">
                <a16:creationId xmlns:a16="http://schemas.microsoft.com/office/drawing/2014/main" id="{E633079A-2138-4890-9780-80D82FF8F558}"/>
              </a:ext>
            </a:extLst>
          </p:cNvPr>
          <p:cNvSpPr>
            <a:spLocks noChangeAspect="1"/>
          </p:cNvSpPr>
          <p:nvPr/>
        </p:nvSpPr>
        <p:spPr bwMode="auto">
          <a:xfrm>
            <a:off x="6132504" y="4206068"/>
            <a:ext cx="408735" cy="404009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  <a:effectLst/>
        </p:spPr>
        <p:txBody>
          <a:bodyPr wrap="square" lIns="0" tIns="0" rIns="0" bIns="0" numCol="1" spcCol="72000" rtlCol="0" anchor="ctr">
            <a:noAutofit/>
          </a:bodyPr>
          <a:lstStyle/>
          <a:p>
            <a:pPr algn="ctr" defTabSz="913943">
              <a:defRPr/>
            </a:pPr>
            <a:r>
              <a:rPr lang="en-US" sz="1799" b="1" kern="0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325" name="Textfeld 30">
            <a:extLst>
              <a:ext uri="{FF2B5EF4-FFF2-40B4-BE49-F238E27FC236}">
                <a16:creationId xmlns:a16="http://schemas.microsoft.com/office/drawing/2014/main" id="{D0818C11-FD66-4319-BED6-9F3C48A5F5DF}"/>
              </a:ext>
            </a:extLst>
          </p:cNvPr>
          <p:cNvSpPr txBox="1"/>
          <p:nvPr/>
        </p:nvSpPr>
        <p:spPr>
          <a:xfrm>
            <a:off x="6541239" y="4206431"/>
            <a:ext cx="4160247" cy="692562"/>
          </a:xfrm>
          <a:prstGeom prst="rect">
            <a:avLst/>
          </a:prstGeom>
          <a:solidFill>
            <a:srgbClr val="41AAAA"/>
          </a:solidFill>
          <a:ln>
            <a:noFill/>
          </a:ln>
        </p:spPr>
        <p:txBody>
          <a:bodyPr wrap="square" lIns="71963" tIns="0" rIns="0" bIns="0" rtlCol="0">
            <a:spAutoFit/>
          </a:bodyPr>
          <a:lstStyle/>
          <a:p>
            <a:pPr defTabSz="913943">
              <a:lnSpc>
                <a:spcPct val="110000"/>
              </a:lnSpc>
            </a:pPr>
            <a:r>
              <a:rPr lang="ru-RU" sz="1400" b="1" dirty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Реализация:</a:t>
            </a:r>
            <a:r>
              <a:rPr lang="en-US" sz="1400" b="1" dirty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1400" b="1" dirty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создание заказ – нарядов по обнаруженным неисправностям на путях для проведения ТОиР </a:t>
            </a:r>
            <a:r>
              <a:rPr lang="en-US" sz="1400" b="1" dirty="0">
                <a:solidFill>
                  <a:srgbClr val="FFFFF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21914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94195AD-5077-4065-801B-FEB9F3D85AA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6098" y="1371600"/>
            <a:ext cx="9080243" cy="5192097"/>
          </a:xfrm>
          <a:prstGeom prst="rect">
            <a:avLst/>
          </a:prstGeom>
        </p:spPr>
      </p:pic>
      <p:sp>
        <p:nvSpPr>
          <p:cNvPr id="6" name="Title">
            <a:extLst>
              <a:ext uri="{FF2B5EF4-FFF2-40B4-BE49-F238E27FC236}">
                <a16:creationId xmlns:a16="http://schemas.microsoft.com/office/drawing/2014/main" id="{40E2AC21-C510-4C12-9303-AA66775D1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</p:spPr>
        <p:txBody>
          <a:bodyPr/>
          <a:lstStyle/>
          <a:p>
            <a:r>
              <a:rPr lang="en-US" dirty="0"/>
              <a:t>Strukton Siemens Video Track Inspector</a:t>
            </a:r>
            <a:br>
              <a:rPr lang="ru-RU" dirty="0"/>
            </a:br>
            <a:r>
              <a:rPr lang="ru-RU" sz="1800" b="0" dirty="0"/>
              <a:t>Настраиваемый интерфейс с отображением выявленных неисправностей и статусом обработки заказ-нарядов  </a:t>
            </a:r>
            <a:endParaRPr lang="en-US" sz="1800" b="0" dirty="0"/>
          </a:p>
        </p:txBody>
      </p:sp>
    </p:spTree>
    <p:extLst>
      <p:ext uri="{BB962C8B-B14F-4D97-AF65-F5344CB8AC3E}">
        <p14:creationId xmlns:p14="http://schemas.microsoft.com/office/powerpoint/2010/main" val="9595507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B686C292-B539-4804-A061-8691E2229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Лидарные технологии для оценки состояния объектов инфраструктуры </a:t>
            </a:r>
            <a:endParaRPr lang="en-US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CE8B9836-976A-4D2A-BBF8-999F8E3F50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8673" y="1144861"/>
            <a:ext cx="6331495" cy="3555935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C98932B-3EC5-4B3A-82E7-C34F253443E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18673" y="4790858"/>
            <a:ext cx="2055910" cy="1877591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C3DBE6A-3CE2-4EAB-9795-D8D6F776118E}"/>
              </a:ext>
            </a:extLst>
          </p:cNvPr>
          <p:cNvSpPr/>
          <p:nvPr/>
        </p:nvSpPr>
        <p:spPr>
          <a:xfrm>
            <a:off x="7815943" y="5181037"/>
            <a:ext cx="311953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1" dirty="0"/>
              <a:t>Lidar Scanner Mx9 с двумя лазерными лучами и камерой 360 ° захватывает до 2 миллионов точек в секунду</a:t>
            </a:r>
          </a:p>
        </p:txBody>
      </p:sp>
      <p:sp>
        <p:nvSpPr>
          <p:cNvPr id="7" name="Rechteck 4">
            <a:extLst>
              <a:ext uri="{FF2B5EF4-FFF2-40B4-BE49-F238E27FC236}">
                <a16:creationId xmlns:a16="http://schemas.microsoft.com/office/drawing/2014/main" id="{1B96B9DC-89AD-4BCB-BA62-DA15E549838A}"/>
              </a:ext>
            </a:extLst>
          </p:cNvPr>
          <p:cNvSpPr>
            <a:spLocks/>
          </p:cNvSpPr>
          <p:nvPr/>
        </p:nvSpPr>
        <p:spPr>
          <a:xfrm>
            <a:off x="341832" y="1989167"/>
            <a:ext cx="4976745" cy="334514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ct val="114000"/>
              </a:lnSpc>
              <a:buClr>
                <a:schemeClr val="accent1"/>
              </a:buClr>
            </a:pPr>
            <a:r>
              <a:rPr lang="ru-RU" sz="1600" b="1" dirty="0">
                <a:solidFill>
                  <a:srgbClr val="FF9000"/>
                </a:solidFill>
              </a:rPr>
              <a:t>Ключевые особенности системы </a:t>
            </a:r>
            <a:r>
              <a:rPr lang="ru-RU" sz="1600" b="1" dirty="0">
                <a:solidFill>
                  <a:srgbClr val="FF9000"/>
                </a:solidFill>
                <a:sym typeface="Wingdings" panose="05000000000000000000" pitchFamily="2" charset="2"/>
              </a:rPr>
              <a:t></a:t>
            </a:r>
          </a:p>
          <a:p>
            <a:pPr>
              <a:lnSpc>
                <a:spcPct val="114000"/>
              </a:lnSpc>
              <a:buClr>
                <a:schemeClr val="accent1"/>
              </a:buClr>
            </a:pPr>
            <a:endParaRPr lang="ru-RU" sz="1600" b="1" dirty="0">
              <a:solidFill>
                <a:srgbClr val="FF9000"/>
              </a:solidFill>
            </a:endParaRP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Сканер фиксирует все элементы на пути и вдоль путей (верхнее строение пути, контактная сеть, вокзалы, растительность и др.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360-градусные изображения для осмотра и мониторинга состояния участка железной дороги 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Точная локализация объектов инфраструктуры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Контроль и измерение статических и динамических параметров вдоль пути (влияние растительности, изменение геометрии и т.д.)</a:t>
            </a:r>
          </a:p>
          <a:p>
            <a:pPr marL="285750" indent="-285750">
              <a:lnSpc>
                <a:spcPct val="114000"/>
              </a:lnSpc>
              <a:buClr>
                <a:schemeClr val="accent1"/>
              </a:buClr>
              <a:buFont typeface="Wingdings" panose="05000000000000000000" pitchFamily="2" charset="2"/>
              <a:buChar char="q"/>
            </a:pPr>
            <a:r>
              <a:rPr lang="ru-RU" sz="1600" dirty="0">
                <a:solidFill>
                  <a:schemeClr val="accent4">
                    <a:lumMod val="20000"/>
                    <a:lumOff val="80000"/>
                  </a:schemeClr>
                </a:solidFill>
              </a:rPr>
              <a:t>Перенос данных в среду BIM</a:t>
            </a:r>
          </a:p>
        </p:txBody>
      </p:sp>
    </p:spTree>
    <p:extLst>
      <p:ext uri="{BB962C8B-B14F-4D97-AF65-F5344CB8AC3E}">
        <p14:creationId xmlns:p14="http://schemas.microsoft.com/office/powerpoint/2010/main" val="915315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vMJVGyPtQbza5twlX6i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7.0SGLnG.657o6pct4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sie-ppt-O365-16x9-standard-eng-v3-0.pptx" id="{126F423E-7F52-41DE-A20C-756A6822B9A2}" vid="{51365D51-9DD3-491E-AF49-CB2F506BEAC1}"/>
    </a:ext>
  </a:extLst>
</a:theme>
</file>

<file path=ppt/theme/theme2.xml><?xml version="1.0" encoding="utf-8"?>
<a:theme xmlns:a="http://schemas.openxmlformats.org/drawingml/2006/main" name="Siemens 201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spcBef>
            <a:spcPts val="0"/>
          </a:spcBef>
          <a:defRPr dirty="0" err="1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sie-ppt-O365-16x9-standard-eng-v2-3.potx" id="{9A0B102C-3A07-4462-BC7C-EC4CA3E79772}" vid="{FAB27446-40D2-4663-B1AE-45281CE85954}"/>
    </a:ext>
  </a:extLst>
</a:theme>
</file>

<file path=ppt/theme/theme3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 + Navigation</Name>
  <PpLayout>32</PpLayout>
  <Index>17</Index>
</p4ppTags>
</file>

<file path=customXml/item10.xml><?xml version="1.0" encoding="utf-8"?>
<p4ppTags>
  <Name>Two columns</Name>
  <PpLayout>29</PpLayout>
  <Index>12</Index>
</p4ppTags>
</file>

<file path=customXml/item11.xml><?xml version="1.0" encoding="utf-8"?>
<p4ppTags>
  <Name>Two rows</Name>
  <PpLayout>32</PpLayout>
  <Index>13</Index>
</p4ppTags>
</file>

<file path=customXml/item12.xml><?xml version="1.0" encoding="utf-8"?>
<p4ppTags>
  <Name>Three columns + Navigation</Name>
  <PpLayout>32</PpLayout>
  <Index>20</Index>
</p4ppTags>
</file>

<file path=customXml/item13.xml><?xml version="1.0" encoding="utf-8"?>
<p4ppTags>
  <Name>Free Content + Navigation</Name>
  <PpLayout>32</PpLayout>
  <Index>16</Index>
</p4ppTags>
</file>

<file path=customXml/item14.xml><?xml version="1.0" encoding="utf-8"?>
<p4ppTags>
  <Name>Free Content</Name>
  <PpLayout>11</PpLayout>
  <Index>9</Index>
</p4ppTags>
</file>

<file path=customXml/item15.xml><?xml version="1.0" encoding="utf-8"?>
<p4ppTags>
  <Name>Text + Index</Name>
  <PpLayout>32</PpLayout>
  <Index>8</Index>
</p4ppTags>
</file>

<file path=customXml/item16.xml><?xml version="1.0" encoding="utf-8"?>
<p4ppTags>
  <Name>Three columns</Name>
  <PpLayout>32</PpLayout>
  <Index>14</Index>
</p4ppTags>
</file>

<file path=customXml/item2.xml><?xml version="1.0" encoding="utf-8"?>
<p4ppTags>
  <Name>Two columns + Navigation</Name>
  <PpLayout>32</PpLayout>
  <Index>19</Index>
</p4ppTags>
</file>

<file path=customXml/item3.xml><?xml version="1.0" encoding="utf-8"?>
<p4ppTags>
  <Name>Four objects</Name>
  <PpLayout>24</PpLayout>
  <Index>15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One object (small) + Navigation</Name>
  <PpLayout>32</PpLayout>
  <Index>18</Index>
</p4ppTags>
</file>

<file path=customXml/item6.xml><?xml version="1.0" encoding="utf-8"?>
<p4ppTags>
  <Name>One object (large)</Name>
  <PpLayout>16</PpLayout>
  <Index>10</Index>
</p4ppTags>
</file>

<file path=customXml/item7.xml><?xml version="1.0" encoding="utf-8"?>
<p4ppTags>
  <Name>Two rows + Navigation</Name>
  <PpLayout>32</PpLayout>
  <Index>21</Index>
</p4ppTags>
</file>

<file path=customXml/item8.xml><?xml version="1.0" encoding="utf-8"?>
<p4ppTags>
  <Name>Four objects + Navigation</Name>
  <PpLayout>32</PpLayout>
  <Index>22</Index>
</p4ppTags>
</file>

<file path=customXml/item9.xml><?xml version="1.0" encoding="utf-8"?>
<p4ppTags>
  <Name>One object (small)</Name>
  <PpLayout>16</PpLayout>
  <Index>11</Index>
</p4ppTags>
</file>

<file path=customXml/itemProps1.xml><?xml version="1.0" encoding="utf-8"?>
<ds:datastoreItem xmlns:ds="http://schemas.openxmlformats.org/officeDocument/2006/customXml" ds:itemID="{B27F640E-84DF-4F97-BC70-D045F1E6594F}">
  <ds:schemaRefs/>
</ds:datastoreItem>
</file>

<file path=customXml/itemProps10.xml><?xml version="1.0" encoding="utf-8"?>
<ds:datastoreItem xmlns:ds="http://schemas.openxmlformats.org/officeDocument/2006/customXml" ds:itemID="{1666F4C2-68F5-4840-A44A-1A646C0925A1}">
  <ds:schemaRefs/>
</ds:datastoreItem>
</file>

<file path=customXml/itemProps11.xml><?xml version="1.0" encoding="utf-8"?>
<ds:datastoreItem xmlns:ds="http://schemas.openxmlformats.org/officeDocument/2006/customXml" ds:itemID="{38AB8DE4-FD9B-4166-BEC3-3F1753596133}">
  <ds:schemaRefs/>
</ds:datastoreItem>
</file>

<file path=customXml/itemProps12.xml><?xml version="1.0" encoding="utf-8"?>
<ds:datastoreItem xmlns:ds="http://schemas.openxmlformats.org/officeDocument/2006/customXml" ds:itemID="{85D77EE6-52B7-48BE-9EDB-748F1EBB53DE}">
  <ds:schemaRefs/>
</ds:datastoreItem>
</file>

<file path=customXml/itemProps13.xml><?xml version="1.0" encoding="utf-8"?>
<ds:datastoreItem xmlns:ds="http://schemas.openxmlformats.org/officeDocument/2006/customXml" ds:itemID="{7CC5F709-E74B-4E5F-A728-923D5062EBEF}">
  <ds:schemaRefs/>
</ds:datastoreItem>
</file>

<file path=customXml/itemProps14.xml><?xml version="1.0" encoding="utf-8"?>
<ds:datastoreItem xmlns:ds="http://schemas.openxmlformats.org/officeDocument/2006/customXml" ds:itemID="{626EFF61-CFE9-42D5-A694-4E7B8DFDECCE}">
  <ds:schemaRefs/>
</ds:datastoreItem>
</file>

<file path=customXml/itemProps15.xml><?xml version="1.0" encoding="utf-8"?>
<ds:datastoreItem xmlns:ds="http://schemas.openxmlformats.org/officeDocument/2006/customXml" ds:itemID="{7E35FEDB-1F0E-4D67-A313-4AC59C26FF29}">
  <ds:schemaRefs/>
</ds:datastoreItem>
</file>

<file path=customXml/itemProps16.xml><?xml version="1.0" encoding="utf-8"?>
<ds:datastoreItem xmlns:ds="http://schemas.openxmlformats.org/officeDocument/2006/customXml" ds:itemID="{15CF3461-70D1-4B54-AFAB-DAFDA0A238CD}">
  <ds:schemaRefs/>
</ds:datastoreItem>
</file>

<file path=customXml/itemProps2.xml><?xml version="1.0" encoding="utf-8"?>
<ds:datastoreItem xmlns:ds="http://schemas.openxmlformats.org/officeDocument/2006/customXml" ds:itemID="{D7BABA95-BFFE-422B-8591-3271669EEA88}">
  <ds:schemaRefs/>
</ds:datastoreItem>
</file>

<file path=customXml/itemProps3.xml><?xml version="1.0" encoding="utf-8"?>
<ds:datastoreItem xmlns:ds="http://schemas.openxmlformats.org/officeDocument/2006/customXml" ds:itemID="{1581BFFB-B4CE-47A8-BE77-DC1339B1E5A7}">
  <ds:schemaRefs/>
</ds:datastoreItem>
</file>

<file path=customXml/itemProps4.xml><?xml version="1.0" encoding="utf-8"?>
<ds:datastoreItem xmlns:ds="http://schemas.openxmlformats.org/officeDocument/2006/customXml" ds:itemID="{6302CFB6-4D36-433A-AB72-76D2B0F7DE5C}">
  <ds:schemaRefs/>
</ds:datastoreItem>
</file>

<file path=customXml/itemProps5.xml><?xml version="1.0" encoding="utf-8"?>
<ds:datastoreItem xmlns:ds="http://schemas.openxmlformats.org/officeDocument/2006/customXml" ds:itemID="{D9FE249F-833E-4CF0-BECB-552D01D7DC9E}">
  <ds:schemaRefs/>
</ds:datastoreItem>
</file>

<file path=customXml/itemProps6.xml><?xml version="1.0" encoding="utf-8"?>
<ds:datastoreItem xmlns:ds="http://schemas.openxmlformats.org/officeDocument/2006/customXml" ds:itemID="{80661B8B-A327-44F9-823B-4D9EE0B3EC78}">
  <ds:schemaRefs/>
</ds:datastoreItem>
</file>

<file path=customXml/itemProps7.xml><?xml version="1.0" encoding="utf-8"?>
<ds:datastoreItem xmlns:ds="http://schemas.openxmlformats.org/officeDocument/2006/customXml" ds:itemID="{6C79E4F8-DCFB-483C-880A-AEEC6AAFC838}">
  <ds:schemaRefs/>
</ds:datastoreItem>
</file>

<file path=customXml/itemProps8.xml><?xml version="1.0" encoding="utf-8"?>
<ds:datastoreItem xmlns:ds="http://schemas.openxmlformats.org/officeDocument/2006/customXml" ds:itemID="{EAB520BC-C6EC-457E-8AB5-55DB67C86858}">
  <ds:schemaRefs/>
</ds:datastoreItem>
</file>

<file path=customXml/itemProps9.xml><?xml version="1.0" encoding="utf-8"?>
<ds:datastoreItem xmlns:ds="http://schemas.openxmlformats.org/officeDocument/2006/customXml" ds:itemID="{1618AA06-B22E-4D19-9680-0D7830426729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e-ppt-O365-16x9-standard-eng-v3-0</Template>
  <TotalTime>5091</TotalTime>
  <Words>810</Words>
  <Application>Microsoft Office PowerPoint</Application>
  <PresentationFormat>Широкоэкранный</PresentationFormat>
  <Paragraphs>116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Arial</vt:lpstr>
      <vt:lpstr>Arial monospaced for SAP</vt:lpstr>
      <vt:lpstr>Myriad Pro</vt:lpstr>
      <vt:lpstr>Segoe Script</vt:lpstr>
      <vt:lpstr>Siemens Sans SC Black</vt:lpstr>
      <vt:lpstr>Wingdings</vt:lpstr>
      <vt:lpstr>Siemens 2020</vt:lpstr>
      <vt:lpstr>Siemens 2019</vt:lpstr>
      <vt:lpstr>think-cell Folie</vt:lpstr>
      <vt:lpstr>Цифровая трансформация в обслуживании железнодорожной инфраструктуры   </vt:lpstr>
      <vt:lpstr>Переход от классического к цифровому обслуживанию  инфраструктуры железных дорог</vt:lpstr>
      <vt:lpstr>Цифровая платформа Railigent как инструмент для преобразования данных в полезную информацию для принятия управленческих решений </vt:lpstr>
      <vt:lpstr>Мониторинг состояния верхнего строения пути (ВСП) на  беспроводной элементной базе  </vt:lpstr>
      <vt:lpstr>DMA Siemens Report Track Geometry – диагностика ВСП с помощью оптических датчиков и системы видеонаблюдения</vt:lpstr>
      <vt:lpstr>Strukton Siemens Video Track Inspector – новые подходы в диагностике инфраструктуры по видеоизображениям </vt:lpstr>
      <vt:lpstr>Strukton Siemens Video Track Inspector – новые подходы в диагностике инфраструктуры по видеоизображениям   </vt:lpstr>
      <vt:lpstr>Strukton Siemens Video Track Inspector Настраиваемый интерфейс с отображением выявленных неисправностей и статусом обработки заказ-нарядов  </vt:lpstr>
      <vt:lpstr>Лидарные технологии для оценки состояния объектов инфраструктуры </vt:lpstr>
      <vt:lpstr>MRX  Система распознавания поврежденых рельсов (BRD)</vt:lpstr>
      <vt:lpstr>Мониторинг и диагностика состояния стрелочных переводов Опыт в Германии и России   </vt:lpstr>
      <vt:lpstr>Контактная информация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 Moscow Regular review of action plan for selected digitalization topics   Circuit Meeting # 11 | 10th Oct. 2020</dc:title>
  <dc:creator>Lavrenko, Pavel (SMO NEE RC-RU CS)</dc:creator>
  <cp:keywords>Template</cp:keywords>
  <dc:description>Version 3.0.8
September 2020</dc:description>
  <cp:lastModifiedBy>Татьяна</cp:lastModifiedBy>
  <cp:revision>81</cp:revision>
  <cp:lastPrinted>2020-11-23T13:51:17Z</cp:lastPrinted>
  <dcterms:created xsi:type="dcterms:W3CDTF">2020-10-08T10:57:11Z</dcterms:created>
  <dcterms:modified xsi:type="dcterms:W3CDTF">2020-11-25T00:41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0-11-20T08:54:44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a0e6b1b8-41c0-4325-9f10-394ffb87d592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</Properties>
</file>